
<file path=[Content_Types].xml><?xml version="1.0" encoding="utf-8"?>
<Types xmlns="http://schemas.openxmlformats.org/package/2006/content-types">
  <Default Extension="xml" ContentType="application/xml"/>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51" r:id="rId4"/>
  </p:sldMasterIdLst>
  <p:notesMasterIdLst>
    <p:notesMasterId r:id="rId36"/>
  </p:notesMasterIdLst>
  <p:sldIdLst>
    <p:sldId id="712" r:id="rId5"/>
    <p:sldId id="829" r:id="rId6"/>
    <p:sldId id="831" r:id="rId7"/>
    <p:sldId id="832" r:id="rId8"/>
    <p:sldId id="827" r:id="rId9"/>
    <p:sldId id="798" r:id="rId10"/>
    <p:sldId id="834" r:id="rId11"/>
    <p:sldId id="864" r:id="rId12"/>
    <p:sldId id="855" r:id="rId13"/>
    <p:sldId id="851" r:id="rId14"/>
    <p:sldId id="853" r:id="rId15"/>
    <p:sldId id="856" r:id="rId16"/>
    <p:sldId id="858" r:id="rId17"/>
    <p:sldId id="857" r:id="rId18"/>
    <p:sldId id="836" r:id="rId19"/>
    <p:sldId id="846" r:id="rId20"/>
    <p:sldId id="847" r:id="rId21"/>
    <p:sldId id="848" r:id="rId22"/>
    <p:sldId id="849" r:id="rId23"/>
    <p:sldId id="859" r:id="rId24"/>
    <p:sldId id="840" r:id="rId25"/>
    <p:sldId id="850" r:id="rId26"/>
    <p:sldId id="852" r:id="rId27"/>
    <p:sldId id="860" r:id="rId28"/>
    <p:sldId id="841" r:id="rId29"/>
    <p:sldId id="861" r:id="rId30"/>
    <p:sldId id="862" r:id="rId31"/>
    <p:sldId id="843" r:id="rId32"/>
    <p:sldId id="842" r:id="rId33"/>
    <p:sldId id="844" r:id="rId34"/>
    <p:sldId id="863" r:id="rId35"/>
  </p:sldIdLst>
  <p:sldSz cx="9906000" cy="6858000" type="A4"/>
  <p:notesSz cx="6794500" cy="9931400"/>
  <p:defaultTextStyle>
    <a:defPPr>
      <a:defRPr lang="ja-JP"/>
    </a:defPPr>
    <a:lvl1pPr algn="l" rtl="0" fontAlgn="base">
      <a:spcBef>
        <a:spcPct val="0"/>
      </a:spcBef>
      <a:spcAft>
        <a:spcPct val="0"/>
      </a:spcAft>
      <a:defRPr kumimoji="1" sz="2400" kern="1200">
        <a:solidFill>
          <a:schemeClr val="tx1"/>
        </a:solidFill>
        <a:latin typeface="Arial" pitchFamily="34" charset="0"/>
        <a:ea typeface="ヒラギノ角ゴ Pro W3"/>
        <a:cs typeface="ヒラギノ角ゴ Pro W3"/>
      </a:defRPr>
    </a:lvl1pPr>
    <a:lvl2pPr marL="457200" algn="l" rtl="0" fontAlgn="base">
      <a:spcBef>
        <a:spcPct val="0"/>
      </a:spcBef>
      <a:spcAft>
        <a:spcPct val="0"/>
      </a:spcAft>
      <a:defRPr kumimoji="1" sz="2400" kern="1200">
        <a:solidFill>
          <a:schemeClr val="tx1"/>
        </a:solidFill>
        <a:latin typeface="Arial" pitchFamily="34" charset="0"/>
        <a:ea typeface="ヒラギノ角ゴ Pro W3"/>
        <a:cs typeface="ヒラギノ角ゴ Pro W3"/>
      </a:defRPr>
    </a:lvl2pPr>
    <a:lvl3pPr marL="914400" algn="l" rtl="0" fontAlgn="base">
      <a:spcBef>
        <a:spcPct val="0"/>
      </a:spcBef>
      <a:spcAft>
        <a:spcPct val="0"/>
      </a:spcAft>
      <a:defRPr kumimoji="1" sz="2400" kern="1200">
        <a:solidFill>
          <a:schemeClr val="tx1"/>
        </a:solidFill>
        <a:latin typeface="Arial" pitchFamily="34" charset="0"/>
        <a:ea typeface="ヒラギノ角ゴ Pro W3"/>
        <a:cs typeface="ヒラギノ角ゴ Pro W3"/>
      </a:defRPr>
    </a:lvl3pPr>
    <a:lvl4pPr marL="1371600" algn="l" rtl="0" fontAlgn="base">
      <a:spcBef>
        <a:spcPct val="0"/>
      </a:spcBef>
      <a:spcAft>
        <a:spcPct val="0"/>
      </a:spcAft>
      <a:defRPr kumimoji="1" sz="2400" kern="1200">
        <a:solidFill>
          <a:schemeClr val="tx1"/>
        </a:solidFill>
        <a:latin typeface="Arial" pitchFamily="34" charset="0"/>
        <a:ea typeface="ヒラギノ角ゴ Pro W3"/>
        <a:cs typeface="ヒラギノ角ゴ Pro W3"/>
      </a:defRPr>
    </a:lvl4pPr>
    <a:lvl5pPr marL="1828800" algn="l" rtl="0" fontAlgn="base">
      <a:spcBef>
        <a:spcPct val="0"/>
      </a:spcBef>
      <a:spcAft>
        <a:spcPct val="0"/>
      </a:spcAft>
      <a:defRPr kumimoji="1" sz="2400" kern="1200">
        <a:solidFill>
          <a:schemeClr val="tx1"/>
        </a:solidFill>
        <a:latin typeface="Arial" pitchFamily="34" charset="0"/>
        <a:ea typeface="ヒラギノ角ゴ Pro W3"/>
        <a:cs typeface="ヒラギノ角ゴ Pro W3"/>
      </a:defRPr>
    </a:lvl5pPr>
    <a:lvl6pPr marL="2286000" algn="l" defTabSz="914400" rtl="0" eaLnBrk="1" latinLnBrk="0" hangingPunct="1">
      <a:defRPr kumimoji="1" sz="2400" kern="1200">
        <a:solidFill>
          <a:schemeClr val="tx1"/>
        </a:solidFill>
        <a:latin typeface="Arial" pitchFamily="34" charset="0"/>
        <a:ea typeface="ヒラギノ角ゴ Pro W3"/>
        <a:cs typeface="ヒラギノ角ゴ Pro W3"/>
      </a:defRPr>
    </a:lvl6pPr>
    <a:lvl7pPr marL="2743200" algn="l" defTabSz="914400" rtl="0" eaLnBrk="1" latinLnBrk="0" hangingPunct="1">
      <a:defRPr kumimoji="1" sz="2400" kern="1200">
        <a:solidFill>
          <a:schemeClr val="tx1"/>
        </a:solidFill>
        <a:latin typeface="Arial" pitchFamily="34" charset="0"/>
        <a:ea typeface="ヒラギノ角ゴ Pro W3"/>
        <a:cs typeface="ヒラギノ角ゴ Pro W3"/>
      </a:defRPr>
    </a:lvl7pPr>
    <a:lvl8pPr marL="3200400" algn="l" defTabSz="914400" rtl="0" eaLnBrk="1" latinLnBrk="0" hangingPunct="1">
      <a:defRPr kumimoji="1" sz="2400" kern="1200">
        <a:solidFill>
          <a:schemeClr val="tx1"/>
        </a:solidFill>
        <a:latin typeface="Arial" pitchFamily="34" charset="0"/>
        <a:ea typeface="ヒラギノ角ゴ Pro W3"/>
        <a:cs typeface="ヒラギノ角ゴ Pro W3"/>
      </a:defRPr>
    </a:lvl8pPr>
    <a:lvl9pPr marL="3657600" algn="l" defTabSz="914400" rtl="0" eaLnBrk="1" latinLnBrk="0" hangingPunct="1">
      <a:defRPr kumimoji="1" sz="2400" kern="1200">
        <a:solidFill>
          <a:schemeClr val="tx1"/>
        </a:solidFill>
        <a:latin typeface="Arial" pitchFamily="34" charset="0"/>
        <a:ea typeface="ヒラギノ角ゴ Pro W3"/>
        <a:cs typeface="ヒラギノ角ゴ Pro W3"/>
      </a:defRPr>
    </a:lvl9pPr>
  </p:defaultTextStyle>
  <p:extLst>
    <p:ext uri="{521415D9-36F7-43E2-AB2F-B90AF26B5E84}">
      <p14:sectionLst xmlns:p14="http://schemas.microsoft.com/office/powerpoint/2010/main">
        <p14:section name="既定のセクション" id="{77EFD09B-A929-5845-9D1A-AC964C753378}">
          <p14:sldIdLst>
            <p14:sldId id="712"/>
            <p14:sldId id="829"/>
            <p14:sldId id="831"/>
            <p14:sldId id="832"/>
            <p14:sldId id="827"/>
            <p14:sldId id="798"/>
            <p14:sldId id="834"/>
            <p14:sldId id="864"/>
            <p14:sldId id="855"/>
            <p14:sldId id="851"/>
            <p14:sldId id="853"/>
            <p14:sldId id="856"/>
            <p14:sldId id="858"/>
            <p14:sldId id="857"/>
            <p14:sldId id="836"/>
            <p14:sldId id="846"/>
            <p14:sldId id="847"/>
            <p14:sldId id="848"/>
            <p14:sldId id="849"/>
            <p14:sldId id="859"/>
            <p14:sldId id="840"/>
            <p14:sldId id="850"/>
            <p14:sldId id="852"/>
            <p14:sldId id="860"/>
            <p14:sldId id="841"/>
            <p14:sldId id="861"/>
            <p14:sldId id="862"/>
            <p14:sldId id="843"/>
            <p14:sldId id="842"/>
            <p14:sldId id="844"/>
            <p14:sldId id="863"/>
          </p14:sldIdLst>
        </p14:section>
      </p14:sectionLst>
    </p:ext>
    <p:ext uri="{EFAFB233-063F-42B5-8137-9DF3F51BA10A}">
      <p15:sldGuideLst xmlns:p15="http://schemas.microsoft.com/office/powerpoint/2012/main">
        <p15:guide id="1" orient="horz" pos="2149">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2DCDB"/>
    <a:srgbClr val="DBEEF4"/>
    <a:srgbClr val="FFFF99"/>
    <a:srgbClr val="FFCCCC"/>
    <a:srgbClr val="FFFFFF"/>
    <a:srgbClr val="FFCC00"/>
    <a:srgbClr val="FFA0A2"/>
    <a:srgbClr val="76D6FF"/>
    <a:srgbClr val="99FFCC"/>
    <a:srgbClr val="00FD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テーマ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淡色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淡色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940675A-B579-460E-94D1-54222C63F5DA}" styleName="スタイルなし/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淡色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113A9D2-9D6B-4929-AA2D-F23B5EE8CBE7}" styleName="テーマ 2 - アクセント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スタイル/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8034E78-7F5D-4C2E-B375-FC64B27BC917}" styleName="濃色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濃色 2 - アクセント 1/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濃色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588" autoAdjust="0"/>
    <p:restoredTop sz="95447" autoAdjust="0"/>
  </p:normalViewPr>
  <p:slideViewPr>
    <p:cSldViewPr snapToGrid="0">
      <p:cViewPr>
        <p:scale>
          <a:sx n="112" d="100"/>
          <a:sy n="112" d="100"/>
        </p:scale>
        <p:origin x="1296" y="184"/>
      </p:cViewPr>
      <p:guideLst>
        <p:guide orient="horz" pos="2149"/>
        <p:guide pos="312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9" Type="http://schemas.openxmlformats.org/officeDocument/2006/relationships/slide" Target="slides/slide5.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notesMaster" Target="notesMasters/notesMaster1.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37" Type="http://schemas.openxmlformats.org/officeDocument/2006/relationships/presProps" Target="presProps.xml"/><Relationship Id="rId38" Type="http://schemas.openxmlformats.org/officeDocument/2006/relationships/viewProps" Target="viewProps.xml"/><Relationship Id="rId39" Type="http://schemas.openxmlformats.org/officeDocument/2006/relationships/theme" Target="theme/theme1.xml"/><Relationship Id="rId4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44283" cy="496570"/>
          </a:xfrm>
          <a:prstGeom prst="rect">
            <a:avLst/>
          </a:prstGeom>
          <a:noFill/>
          <a:ln>
            <a:noFill/>
          </a:ln>
          <a:extLst/>
        </p:spPr>
        <p:txBody>
          <a:bodyPr vert="horz" wrap="square" lIns="91440" tIns="45720" rIns="91440" bIns="45720" numCol="1" anchor="t" anchorCtr="0" compatLnSpc="1">
            <a:prstTxWarp prst="textNoShape">
              <a:avLst/>
            </a:prstTxWarp>
          </a:bodyPr>
          <a:lstStyle>
            <a:lvl1pPr>
              <a:defRPr sz="1200">
                <a:latin typeface="Arial" charset="0"/>
                <a:ea typeface="ヒラギノ角ゴ Pro W3" charset="0"/>
                <a:cs typeface="ヒラギノ角ゴ Pro W3" charset="0"/>
              </a:defRPr>
            </a:lvl1pPr>
          </a:lstStyle>
          <a:p>
            <a:pPr>
              <a:defRPr/>
            </a:pPr>
            <a:endParaRPr lang="en-US" altLang="ja-JP"/>
          </a:p>
        </p:txBody>
      </p:sp>
      <p:sp>
        <p:nvSpPr>
          <p:cNvPr id="8195" name="Rectangle 3"/>
          <p:cNvSpPr>
            <a:spLocks noGrp="1" noChangeArrowheads="1"/>
          </p:cNvSpPr>
          <p:nvPr>
            <p:ph type="dt" idx="1"/>
          </p:nvPr>
        </p:nvSpPr>
        <p:spPr bwMode="auto">
          <a:xfrm>
            <a:off x="3850217" y="0"/>
            <a:ext cx="2944283" cy="496570"/>
          </a:xfrm>
          <a:prstGeom prst="rect">
            <a:avLst/>
          </a:prstGeom>
          <a:noFill/>
          <a:ln>
            <a:noFill/>
          </a:ln>
          <a:extLst/>
        </p:spPr>
        <p:txBody>
          <a:bodyPr vert="horz" wrap="square" lIns="91440" tIns="45720" rIns="91440" bIns="45720" numCol="1" anchor="t" anchorCtr="0" compatLnSpc="1">
            <a:prstTxWarp prst="textNoShape">
              <a:avLst/>
            </a:prstTxWarp>
          </a:bodyPr>
          <a:lstStyle>
            <a:lvl1pPr algn="r">
              <a:defRPr sz="1200">
                <a:latin typeface="Arial" charset="0"/>
                <a:ea typeface="ヒラギノ角ゴ Pro W3" charset="0"/>
                <a:cs typeface="ヒラギノ角ゴ Pro W3" charset="0"/>
              </a:defRPr>
            </a:lvl1pPr>
          </a:lstStyle>
          <a:p>
            <a:pPr>
              <a:defRPr/>
            </a:pPr>
            <a:endParaRPr lang="en-US" altLang="ja-JP"/>
          </a:p>
        </p:txBody>
      </p:sp>
      <p:sp>
        <p:nvSpPr>
          <p:cNvPr id="26628" name="Rectangle 4"/>
          <p:cNvSpPr>
            <a:spLocks noGrp="1" noRot="1" noChangeAspect="1" noChangeArrowheads="1" noTextEdit="1"/>
          </p:cNvSpPr>
          <p:nvPr>
            <p:ph type="sldImg" idx="2"/>
          </p:nvPr>
        </p:nvSpPr>
        <p:spPr bwMode="auto">
          <a:xfrm>
            <a:off x="708025" y="744538"/>
            <a:ext cx="5378450" cy="3724275"/>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905934" y="4717415"/>
            <a:ext cx="4982633" cy="446913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ja-JP" altLang="en-US" noProof="0"/>
              <a:t>マスタ</a:t>
            </a:r>
            <a:r>
              <a:rPr lang="en-US" altLang="ja-JP" noProof="0"/>
              <a:t> </a:t>
            </a:r>
            <a:r>
              <a:rPr lang="ja-JP" altLang="en-US" noProof="0"/>
              <a:t>テキストの書式設定</a:t>
            </a:r>
            <a:endParaRPr lang="en-US" altLang="ja-JP" noProof="0"/>
          </a:p>
          <a:p>
            <a:pPr lvl="1"/>
            <a:r>
              <a:rPr lang="ja-JP" altLang="en-US" noProof="0"/>
              <a:t>第</a:t>
            </a:r>
            <a:r>
              <a:rPr lang="en-US" altLang="ja-JP" noProof="0"/>
              <a:t> 2 </a:t>
            </a:r>
            <a:r>
              <a:rPr lang="ja-JP" altLang="en-US" noProof="0"/>
              <a:t>レベル</a:t>
            </a:r>
            <a:endParaRPr lang="en-US" altLang="ja-JP" noProof="0"/>
          </a:p>
          <a:p>
            <a:pPr lvl="2"/>
            <a:r>
              <a:rPr lang="ja-JP" altLang="en-US" noProof="0"/>
              <a:t>第</a:t>
            </a:r>
            <a:r>
              <a:rPr lang="en-US" altLang="ja-JP" noProof="0"/>
              <a:t> 3 </a:t>
            </a:r>
            <a:r>
              <a:rPr lang="ja-JP" altLang="en-US" noProof="0"/>
              <a:t>レベル</a:t>
            </a:r>
            <a:endParaRPr lang="en-US" altLang="ja-JP" noProof="0"/>
          </a:p>
          <a:p>
            <a:pPr lvl="3"/>
            <a:r>
              <a:rPr lang="ja-JP" altLang="en-US" noProof="0"/>
              <a:t>第</a:t>
            </a:r>
            <a:r>
              <a:rPr lang="en-US" altLang="ja-JP" noProof="0"/>
              <a:t> 4 </a:t>
            </a:r>
            <a:r>
              <a:rPr lang="ja-JP" altLang="en-US" noProof="0"/>
              <a:t>レベル</a:t>
            </a:r>
            <a:endParaRPr lang="en-US" altLang="ja-JP" noProof="0"/>
          </a:p>
          <a:p>
            <a:pPr lvl="4"/>
            <a:r>
              <a:rPr lang="ja-JP" altLang="en-US" noProof="0"/>
              <a:t>第</a:t>
            </a:r>
            <a:r>
              <a:rPr lang="en-US" altLang="ja-JP" noProof="0"/>
              <a:t> 5 </a:t>
            </a:r>
            <a:r>
              <a:rPr lang="ja-JP" altLang="en-US" noProof="0"/>
              <a:t>レベル</a:t>
            </a:r>
          </a:p>
        </p:txBody>
      </p:sp>
      <p:sp>
        <p:nvSpPr>
          <p:cNvPr id="8198" name="Rectangle 6"/>
          <p:cNvSpPr>
            <a:spLocks noGrp="1" noChangeArrowheads="1"/>
          </p:cNvSpPr>
          <p:nvPr>
            <p:ph type="ftr" sz="quarter" idx="4"/>
          </p:nvPr>
        </p:nvSpPr>
        <p:spPr bwMode="auto">
          <a:xfrm>
            <a:off x="0" y="9434830"/>
            <a:ext cx="2944283" cy="496570"/>
          </a:xfrm>
          <a:prstGeom prst="rect">
            <a:avLst/>
          </a:prstGeom>
          <a:noFill/>
          <a:ln>
            <a:noFill/>
          </a:ln>
          <a:extLst/>
        </p:spPr>
        <p:txBody>
          <a:bodyPr vert="horz" wrap="square" lIns="91440" tIns="45720" rIns="91440" bIns="45720" numCol="1" anchor="b" anchorCtr="0" compatLnSpc="1">
            <a:prstTxWarp prst="textNoShape">
              <a:avLst/>
            </a:prstTxWarp>
          </a:bodyPr>
          <a:lstStyle>
            <a:lvl1pPr>
              <a:defRPr sz="1200">
                <a:latin typeface="Arial" charset="0"/>
                <a:ea typeface="ヒラギノ角ゴ Pro W3" charset="0"/>
                <a:cs typeface="ヒラギノ角ゴ Pro W3" charset="0"/>
              </a:defRPr>
            </a:lvl1pPr>
          </a:lstStyle>
          <a:p>
            <a:pPr>
              <a:defRPr/>
            </a:pPr>
            <a:endParaRPr lang="en-US" altLang="ja-JP"/>
          </a:p>
        </p:txBody>
      </p:sp>
      <p:sp>
        <p:nvSpPr>
          <p:cNvPr id="8199" name="Rectangle 7"/>
          <p:cNvSpPr>
            <a:spLocks noGrp="1" noChangeArrowheads="1"/>
          </p:cNvSpPr>
          <p:nvPr>
            <p:ph type="sldNum" sz="quarter" idx="5"/>
          </p:nvPr>
        </p:nvSpPr>
        <p:spPr bwMode="auto">
          <a:xfrm>
            <a:off x="3850217" y="9434830"/>
            <a:ext cx="2944283" cy="496570"/>
          </a:xfrm>
          <a:prstGeom prst="rect">
            <a:avLst/>
          </a:prstGeom>
          <a:noFill/>
          <a:ln>
            <a:noFill/>
          </a:ln>
          <a:extLst/>
        </p:spPr>
        <p:txBody>
          <a:bodyPr vert="horz" wrap="square" lIns="91440" tIns="45720" rIns="91440" bIns="45720" numCol="1" anchor="b" anchorCtr="0" compatLnSpc="1">
            <a:prstTxWarp prst="textNoShape">
              <a:avLst/>
            </a:prstTxWarp>
          </a:bodyPr>
          <a:lstStyle>
            <a:lvl1pPr algn="r">
              <a:defRPr sz="1200">
                <a:ea typeface="ヒラギノ角ゴ Pro W3" charset="-128"/>
                <a:cs typeface="+mn-cs"/>
              </a:defRPr>
            </a:lvl1pPr>
          </a:lstStyle>
          <a:p>
            <a:pPr>
              <a:defRPr/>
            </a:pPr>
            <a:fld id="{CA6A319A-BBAB-4BF4-AD75-5F1EE98EDD9F}" type="slidenum">
              <a:rPr lang="en-US" altLang="ja-JP"/>
              <a:pPr>
                <a:defRPr/>
              </a:pPr>
              <a:t>‹#›</a:t>
            </a:fld>
            <a:endParaRPr lang="en-US" altLang="ja-JP"/>
          </a:p>
        </p:txBody>
      </p:sp>
    </p:spTree>
    <p:extLst>
      <p:ext uri="{BB962C8B-B14F-4D97-AF65-F5344CB8AC3E}">
        <p14:creationId xmlns:p14="http://schemas.microsoft.com/office/powerpoint/2010/main" val="42237212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ヒラギノ角ゴ Pro W3" charset="0"/>
        <a:cs typeface="ヒラギノ角ゴ Pro W3" charset="0"/>
      </a:defRPr>
    </a:lvl1pPr>
    <a:lvl2pPr marL="457200" algn="l" rtl="0" eaLnBrk="0" fontAlgn="base" hangingPunct="0">
      <a:spcBef>
        <a:spcPct val="30000"/>
      </a:spcBef>
      <a:spcAft>
        <a:spcPct val="0"/>
      </a:spcAft>
      <a:defRPr kumimoji="1" sz="1200" kern="1200">
        <a:solidFill>
          <a:schemeClr val="tx1"/>
        </a:solidFill>
        <a:latin typeface="Arial" charset="0"/>
        <a:ea typeface="ヒラギノ角ゴ Pro W3" charset="0"/>
        <a:cs typeface="ヒラギノ角ゴ Pro W3" charset="0"/>
      </a:defRPr>
    </a:lvl2pPr>
    <a:lvl3pPr marL="914400" algn="l" rtl="0" eaLnBrk="0" fontAlgn="base" hangingPunct="0">
      <a:spcBef>
        <a:spcPct val="30000"/>
      </a:spcBef>
      <a:spcAft>
        <a:spcPct val="0"/>
      </a:spcAft>
      <a:defRPr kumimoji="1" sz="1200" kern="1200">
        <a:solidFill>
          <a:schemeClr val="tx1"/>
        </a:solidFill>
        <a:latin typeface="Arial" charset="0"/>
        <a:ea typeface="ヒラギノ角ゴ Pro W3" charset="0"/>
        <a:cs typeface="ヒラギノ角ゴ Pro W3" charset="0"/>
      </a:defRPr>
    </a:lvl3pPr>
    <a:lvl4pPr marL="1371600" algn="l" rtl="0" eaLnBrk="0" fontAlgn="base" hangingPunct="0">
      <a:spcBef>
        <a:spcPct val="30000"/>
      </a:spcBef>
      <a:spcAft>
        <a:spcPct val="0"/>
      </a:spcAft>
      <a:defRPr kumimoji="1" sz="1200" kern="1200">
        <a:solidFill>
          <a:schemeClr val="tx1"/>
        </a:solidFill>
        <a:latin typeface="Arial" charset="0"/>
        <a:ea typeface="ヒラギノ角ゴ Pro W3" charset="0"/>
        <a:cs typeface="ヒラギノ角ゴ Pro W3" charset="0"/>
      </a:defRPr>
    </a:lvl4pPr>
    <a:lvl5pPr marL="1828800" algn="l" rtl="0" eaLnBrk="0" fontAlgn="base" hangingPunct="0">
      <a:spcBef>
        <a:spcPct val="30000"/>
      </a:spcBef>
      <a:spcAft>
        <a:spcPct val="0"/>
      </a:spcAft>
      <a:defRPr kumimoji="1" sz="1200" kern="1200">
        <a:solidFill>
          <a:schemeClr val="tx1"/>
        </a:solidFill>
        <a:latin typeface="Arial" charset="0"/>
        <a:ea typeface="ヒラギノ角ゴ Pro W3" charset="0"/>
        <a:cs typeface="ヒラギノ角ゴ Pro W3" charset="0"/>
      </a:defRPr>
    </a:lvl5pPr>
    <a:lvl6pPr marL="2286000" algn="l" defTabSz="457200" rtl="0" eaLnBrk="1" latinLnBrk="0" hangingPunct="1">
      <a:defRPr kumimoji="1" sz="1200" kern="1200">
        <a:solidFill>
          <a:schemeClr val="tx1"/>
        </a:solidFill>
        <a:latin typeface="+mn-lt"/>
        <a:ea typeface="+mn-ea"/>
        <a:cs typeface="+mn-cs"/>
      </a:defRPr>
    </a:lvl6pPr>
    <a:lvl7pPr marL="2743200" algn="l" defTabSz="457200" rtl="0" eaLnBrk="1" latinLnBrk="0" hangingPunct="1">
      <a:defRPr kumimoji="1" sz="1200" kern="1200">
        <a:solidFill>
          <a:schemeClr val="tx1"/>
        </a:solidFill>
        <a:latin typeface="+mn-lt"/>
        <a:ea typeface="+mn-ea"/>
        <a:cs typeface="+mn-cs"/>
      </a:defRPr>
    </a:lvl7pPr>
    <a:lvl8pPr marL="3200400" algn="l" defTabSz="457200" rtl="0" eaLnBrk="1" latinLnBrk="0" hangingPunct="1">
      <a:defRPr kumimoji="1" sz="1200" kern="1200">
        <a:solidFill>
          <a:schemeClr val="tx1"/>
        </a:solidFill>
        <a:latin typeface="+mn-lt"/>
        <a:ea typeface="+mn-ea"/>
        <a:cs typeface="+mn-cs"/>
      </a:defRPr>
    </a:lvl8pPr>
    <a:lvl9pPr marL="3657600" algn="l" defTabSz="4572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A6A319A-BBAB-4BF4-AD75-5F1EE98EDD9F}" type="slidenum">
              <a:rPr lang="en-US" altLang="ja-JP" smtClean="0"/>
              <a:pPr>
                <a:defRPr/>
              </a:pPr>
              <a:t>21</a:t>
            </a:fld>
            <a:endParaRPr lang="en-US" altLang="ja-JP"/>
          </a:p>
        </p:txBody>
      </p:sp>
    </p:spTree>
    <p:extLst>
      <p:ext uri="{BB962C8B-B14F-4D97-AF65-F5344CB8AC3E}">
        <p14:creationId xmlns:p14="http://schemas.microsoft.com/office/powerpoint/2010/main" val="18356338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slideMaster" Target="../slideMasters/slideMaster1.xml"/><Relationship Id="rId6" Type="http://schemas.openxmlformats.org/officeDocument/2006/relationships/oleObject" Target="../embeddings/oleObject1.bin"/><Relationship Id="rId7" Type="http://schemas.openxmlformats.org/officeDocument/2006/relationships/image" Target="../media/image3.emf"/><Relationship Id="rId8" Type="http://schemas.openxmlformats.org/officeDocument/2006/relationships/image" Target="../media/image2.png"/><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3.emf"/><Relationship Id="rId6" Type="http://schemas.openxmlformats.org/officeDocument/2006/relationships/image" Target="../media/image2.png"/><Relationship Id="rId1" Type="http://schemas.openxmlformats.org/officeDocument/2006/relationships/vmlDrawing" Target="../drawings/vmlDrawing2.vml"/><Relationship Id="rId2" Type="http://schemas.openxmlformats.org/officeDocument/2006/relationships/tags" Target="../tags/tag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pic>
        <p:nvPicPr>
          <p:cNvPr id="3" name="Picture 28" descr="Sub_Graphics [更新済み]"/>
          <p:cNvPicPr>
            <a:picLocks noChangeAspect="1" noChangeArrowheads="1"/>
          </p:cNvPicPr>
          <p:nvPr userDrawn="1"/>
        </p:nvPicPr>
        <p:blipFill>
          <a:blip r:embed="rId2"/>
          <a:srcRect/>
          <a:stretch>
            <a:fillRect/>
          </a:stretch>
        </p:blipFill>
        <p:spPr bwMode="auto">
          <a:xfrm>
            <a:off x="0" y="0"/>
            <a:ext cx="9906000" cy="4281488"/>
          </a:xfrm>
          <a:prstGeom prst="rect">
            <a:avLst/>
          </a:prstGeom>
          <a:noFill/>
          <a:ln w="9525">
            <a:noFill/>
            <a:miter lim="800000"/>
            <a:headEnd/>
            <a:tailEnd/>
          </a:ln>
        </p:spPr>
      </p:pic>
      <p:sp>
        <p:nvSpPr>
          <p:cNvPr id="6157" name="Rectangle 13"/>
          <p:cNvSpPr>
            <a:spLocks noGrp="1" noChangeArrowheads="1"/>
          </p:cNvSpPr>
          <p:nvPr>
            <p:ph type="ctrTitle"/>
          </p:nvPr>
        </p:nvSpPr>
        <p:spPr>
          <a:xfrm>
            <a:off x="3486019" y="1563688"/>
            <a:ext cx="5855890" cy="2386012"/>
          </a:xfrm>
        </p:spPr>
        <p:txBody>
          <a:bodyPr/>
          <a:lstStyle>
            <a:lvl1pPr>
              <a:defRPr sz="3600" b="1">
                <a:solidFill>
                  <a:schemeClr val="bg1"/>
                </a:solidFill>
                <a:effectLst>
                  <a:glow rad="228600">
                    <a:schemeClr val="accent1">
                      <a:satMod val="175000"/>
                      <a:alpha val="40000"/>
                    </a:schemeClr>
                  </a:glow>
                </a:effectLst>
                <a:latin typeface="+mj-lt"/>
              </a:defRPr>
            </a:lvl1pPr>
          </a:lstStyle>
          <a:p>
            <a:pPr lvl="0"/>
            <a:r>
              <a:rPr lang="ja-JP" altLang="en-US" noProof="0" dirty="0" smtClean="0"/>
              <a:t>マスタ タイトルの書式設定</a:t>
            </a:r>
          </a:p>
        </p:txBody>
      </p:sp>
      <p:pic>
        <p:nvPicPr>
          <p:cNvPr id="5" name="図 4" descr="R-tech.png"/>
          <p:cNvPicPr>
            <a:picLocks noChangeAspect="1"/>
          </p:cNvPicPr>
          <p:nvPr userDrawn="1"/>
        </p:nvPicPr>
        <p:blipFill>
          <a:blip r:embed="rId3"/>
          <a:stretch>
            <a:fillRect/>
          </a:stretch>
        </p:blipFill>
        <p:spPr>
          <a:xfrm>
            <a:off x="184096" y="5743254"/>
            <a:ext cx="4684463" cy="540515"/>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5" name="正方形/長方形 4"/>
          <p:cNvSpPr/>
          <p:nvPr userDrawn="1"/>
        </p:nvSpPr>
        <p:spPr bwMode="auto">
          <a:xfrm>
            <a:off x="0" y="0"/>
            <a:ext cx="9906000" cy="4296427"/>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ja-JP" altLang="en-US" sz="1400" b="0" i="0" u="none" strike="noStrike" cap="none" normalizeH="0" baseline="0" smtClean="0">
              <a:ln>
                <a:noFill/>
              </a:ln>
              <a:solidFill>
                <a:srgbClr val="000000"/>
              </a:solidFill>
              <a:effectLst/>
              <a:latin typeface="+mn-lt"/>
              <a:ea typeface="ＭＳ Ｐゴシック" pitchFamily="50" charset="-128"/>
              <a:cs typeface="ヒラギノ角ゴ Pro W3" charset="0"/>
            </a:endParaRPr>
          </a:p>
        </p:txBody>
      </p:sp>
      <p:sp>
        <p:nvSpPr>
          <p:cNvPr id="6157" name="Rectangle 13"/>
          <p:cNvSpPr>
            <a:spLocks noGrp="1" noChangeArrowheads="1"/>
          </p:cNvSpPr>
          <p:nvPr>
            <p:ph type="ctrTitle"/>
          </p:nvPr>
        </p:nvSpPr>
        <p:spPr>
          <a:xfrm>
            <a:off x="2025055" y="2802299"/>
            <a:ext cx="5855890" cy="626701"/>
          </a:xfrm>
        </p:spPr>
        <p:txBody>
          <a:bodyPr lIns="36000" rIns="36000" anchor="b" anchorCtr="0">
            <a:spAutoFit/>
          </a:bodyPr>
          <a:lstStyle>
            <a:lvl1pPr algn="ctr">
              <a:defRPr sz="3600">
                <a:solidFill>
                  <a:srgbClr val="33464D"/>
                </a:solidFill>
                <a:latin typeface="+mj-lt"/>
              </a:defRPr>
            </a:lvl1pPr>
          </a:lstStyle>
          <a:p>
            <a:pPr lvl="0"/>
            <a:r>
              <a:rPr lang="ja-JP" altLang="en-US" noProof="0" dirty="0" smtClean="0"/>
              <a:t>マスタ タイトルの書式設定</a:t>
            </a:r>
          </a:p>
        </p:txBody>
      </p:sp>
      <p:sp>
        <p:nvSpPr>
          <p:cNvPr id="6" name="Line 4"/>
          <p:cNvSpPr>
            <a:spLocks noChangeShapeType="1"/>
          </p:cNvSpPr>
          <p:nvPr userDrawn="1"/>
        </p:nvSpPr>
        <p:spPr bwMode="auto">
          <a:xfrm>
            <a:off x="453000" y="3429000"/>
            <a:ext cx="9000000" cy="0"/>
          </a:xfrm>
          <a:prstGeom prst="line">
            <a:avLst/>
          </a:prstGeom>
          <a:noFill/>
          <a:ln w="31750" cmpd="sng">
            <a:solidFill>
              <a:srgbClr val="0065BD"/>
            </a:solidFill>
            <a:round/>
            <a:headEnd/>
            <a:tailEnd/>
          </a:ln>
          <a:effectLst/>
        </p:spPr>
        <p:txBody>
          <a:bodyPr wrap="none" anchor="ctr"/>
          <a:lstStyle/>
          <a:p>
            <a:pPr eaLnBrk="0" hangingPunct="0">
              <a:defRPr/>
            </a:pPr>
            <a:endParaRPr lang="en-US" dirty="0">
              <a:ea typeface="ヒラギノ角ゴ Pro W3" charset="-128"/>
              <a:cs typeface="+mn-cs"/>
            </a:endParaRPr>
          </a:p>
        </p:txBody>
      </p:sp>
      <p:pic>
        <p:nvPicPr>
          <p:cNvPr id="7" name="図 6" descr="R-tech.png"/>
          <p:cNvPicPr>
            <a:picLocks noChangeAspect="1"/>
          </p:cNvPicPr>
          <p:nvPr userDrawn="1"/>
        </p:nvPicPr>
        <p:blipFill>
          <a:blip r:embed="rId2"/>
          <a:stretch>
            <a:fillRect/>
          </a:stretch>
        </p:blipFill>
        <p:spPr>
          <a:xfrm>
            <a:off x="184096" y="5743254"/>
            <a:ext cx="4684463" cy="540515"/>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2_タイトル スライド">
    <p:spTree>
      <p:nvGrpSpPr>
        <p:cNvPr id="1" name=""/>
        <p:cNvGrpSpPr/>
        <p:nvPr/>
      </p:nvGrpSpPr>
      <p:grpSpPr>
        <a:xfrm>
          <a:off x="0" y="0"/>
          <a:ext cx="0" cy="0"/>
          <a:chOff x="0" y="0"/>
          <a:chExt cx="0" cy="0"/>
        </a:xfrm>
      </p:grpSpPr>
      <p:sp>
        <p:nvSpPr>
          <p:cNvPr id="5" name="正方形/長方形 4"/>
          <p:cNvSpPr/>
          <p:nvPr userDrawn="1"/>
        </p:nvSpPr>
        <p:spPr bwMode="auto">
          <a:xfrm>
            <a:off x="0" y="0"/>
            <a:ext cx="9906000" cy="4296427"/>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ja-JP" altLang="en-US" sz="1400" b="0" i="0" u="none" strike="noStrike" cap="none" normalizeH="0" baseline="0" smtClean="0">
              <a:ln>
                <a:noFill/>
              </a:ln>
              <a:solidFill>
                <a:srgbClr val="000000"/>
              </a:solidFill>
              <a:effectLst/>
              <a:latin typeface="+mn-lt"/>
              <a:ea typeface="ＭＳ Ｐゴシック" pitchFamily="50" charset="-128"/>
              <a:cs typeface="ヒラギノ角ゴ Pro W3" charset="0"/>
            </a:endParaRPr>
          </a:p>
        </p:txBody>
      </p:sp>
      <p:sp>
        <p:nvSpPr>
          <p:cNvPr id="6157" name="Rectangle 13"/>
          <p:cNvSpPr>
            <a:spLocks noGrp="1" noChangeArrowheads="1"/>
          </p:cNvSpPr>
          <p:nvPr>
            <p:ph type="ctrTitle"/>
          </p:nvPr>
        </p:nvSpPr>
        <p:spPr>
          <a:xfrm>
            <a:off x="2025055" y="2802299"/>
            <a:ext cx="5855890" cy="626701"/>
          </a:xfrm>
        </p:spPr>
        <p:txBody>
          <a:bodyPr lIns="36000" rIns="36000" anchor="b" anchorCtr="0">
            <a:spAutoFit/>
          </a:bodyPr>
          <a:lstStyle>
            <a:lvl1pPr algn="ctr">
              <a:defRPr sz="3600">
                <a:solidFill>
                  <a:srgbClr val="33464D"/>
                </a:solidFill>
                <a:latin typeface="+mj-lt"/>
              </a:defRPr>
            </a:lvl1pPr>
          </a:lstStyle>
          <a:p>
            <a:pPr lvl="0"/>
            <a:endParaRPr lang="ja-JP" altLang="en-US" noProof="0" dirty="0" smtClean="0"/>
          </a:p>
        </p:txBody>
      </p:sp>
      <p:pic>
        <p:nvPicPr>
          <p:cNvPr id="7" name="図 6" descr="R-tech.png"/>
          <p:cNvPicPr>
            <a:picLocks noChangeAspect="1"/>
          </p:cNvPicPr>
          <p:nvPr userDrawn="1"/>
        </p:nvPicPr>
        <p:blipFill>
          <a:blip r:embed="rId2"/>
          <a:stretch>
            <a:fillRect/>
          </a:stretch>
        </p:blipFill>
        <p:spPr>
          <a:xfrm>
            <a:off x="184096" y="5743254"/>
            <a:ext cx="4684463" cy="540515"/>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lIns="0" rIns="0"/>
          <a:lstStyle>
            <a:lvl1pPr>
              <a:defRPr sz="2400">
                <a:solidFill>
                  <a:srgbClr val="0065BD"/>
                </a:solidFill>
                <a:latin typeface="メイリオ" pitchFamily="50" charset="-128"/>
                <a:ea typeface="メイリオ" pitchFamily="50" charset="-128"/>
                <a:cs typeface="メイリオ" pitchFamily="50" charset="-128"/>
              </a:defRPr>
            </a:lvl1pPr>
          </a:lstStyle>
          <a:p>
            <a:r>
              <a:rPr lang="ja-JP" altLang="en-US" dirty="0" smtClean="0"/>
              <a:t>マスタ タイトルの書式設定</a:t>
            </a:r>
            <a:endParaRPr lang="ja-JP" altLang="en-US" dirty="0"/>
          </a:p>
        </p:txBody>
      </p:sp>
      <p:sp>
        <p:nvSpPr>
          <p:cNvPr id="3" name="コンテンツ プレースホルダー 2"/>
          <p:cNvSpPr>
            <a:spLocks noGrp="1"/>
          </p:cNvSpPr>
          <p:nvPr>
            <p:ph idx="1"/>
          </p:nvPr>
        </p:nvSpPr>
        <p:spPr/>
        <p:txBody>
          <a:bodyPr/>
          <a:lstStyle>
            <a:lvl1pPr>
              <a:defRPr sz="2000">
                <a:latin typeface="メイリオ" pitchFamily="50" charset="-128"/>
                <a:ea typeface="メイリオ" pitchFamily="50" charset="-128"/>
                <a:cs typeface="メイリオ" pitchFamily="50" charset="-128"/>
              </a:defRPr>
            </a:lvl1pPr>
            <a:lvl2pPr>
              <a:buClr>
                <a:srgbClr val="0065BD"/>
              </a:buClr>
              <a:defRPr sz="1800">
                <a:latin typeface="メイリオ" pitchFamily="50" charset="-128"/>
                <a:ea typeface="メイリオ" pitchFamily="50" charset="-128"/>
                <a:cs typeface="メイリオ" pitchFamily="50" charset="-128"/>
              </a:defRPr>
            </a:lvl2pPr>
            <a:lvl3pPr>
              <a:buClr>
                <a:srgbClr val="0065BD"/>
              </a:buClr>
              <a:defRPr sz="1600">
                <a:latin typeface="メイリオ" pitchFamily="50" charset="-128"/>
                <a:ea typeface="メイリオ" pitchFamily="50" charset="-128"/>
                <a:cs typeface="メイリオ" pitchFamily="50" charset="-128"/>
              </a:defRPr>
            </a:lvl3pPr>
            <a:lvl4pPr>
              <a:buClr>
                <a:srgbClr val="0065BD"/>
              </a:buClr>
              <a:defRPr sz="1400">
                <a:latin typeface="メイリオ" pitchFamily="50" charset="-128"/>
                <a:ea typeface="メイリオ" pitchFamily="50" charset="-128"/>
                <a:cs typeface="メイリオ" pitchFamily="50" charset="-128"/>
              </a:defRPr>
            </a:lvl4pPr>
            <a:lvl5pPr>
              <a:buClr>
                <a:srgbClr val="0065BD"/>
              </a:buClr>
              <a:defRPr sz="1400">
                <a:latin typeface="メイリオ" pitchFamily="50" charset="-128"/>
                <a:ea typeface="メイリオ" pitchFamily="50" charset="-128"/>
                <a:cs typeface="メイリオ" pitchFamily="50" charset="-128"/>
              </a:defRPr>
            </a:lvl5pPr>
          </a:lstStyle>
          <a:p>
            <a:pPr lvl="0"/>
            <a:r>
              <a:rPr lang="ja-JP" altLang="en-US" dirty="0" smtClean="0"/>
              <a:t>マスタ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ja-JP" altLang="en-US" dirty="0"/>
          </a:p>
        </p:txBody>
      </p:sp>
      <p:sp>
        <p:nvSpPr>
          <p:cNvPr id="5" name="Rectangle 6"/>
          <p:cNvSpPr>
            <a:spLocks noGrp="1" noChangeArrowheads="1"/>
          </p:cNvSpPr>
          <p:nvPr>
            <p:ph type="sldNum" sz="quarter" idx="10"/>
          </p:nvPr>
        </p:nvSpPr>
        <p:spPr/>
        <p:txBody>
          <a:bodyPr/>
          <a:lstStyle>
            <a:lvl1pPr algn="r" eaLnBrk="0" hangingPunct="0">
              <a:defRPr kumimoji="0" sz="1400">
                <a:solidFill>
                  <a:srgbClr val="34464D"/>
                </a:solidFill>
                <a:ea typeface="Osaka" charset="-128"/>
              </a:defRPr>
            </a:lvl1pPr>
          </a:lstStyle>
          <a:p>
            <a:pPr>
              <a:defRPr/>
            </a:pPr>
            <a:fld id="{593FC5A1-CFE0-4F62-93A0-8BE4E6046931}" type="slidenum">
              <a:rPr lang="en-US" altLang="ja-JP"/>
              <a:pPr>
                <a:defRPr/>
              </a:pPr>
              <a:t>‹#›</a:t>
            </a:fld>
            <a:endParaRPr lang="en-US" altLang="ja-JP" dirty="0"/>
          </a:p>
        </p:txBody>
      </p:sp>
      <p:pic>
        <p:nvPicPr>
          <p:cNvPr id="7" name="図 6" descr="R-tech.png"/>
          <p:cNvPicPr>
            <a:picLocks noChangeAspect="1"/>
          </p:cNvPicPr>
          <p:nvPr userDrawn="1"/>
        </p:nvPicPr>
        <p:blipFill>
          <a:blip r:embed="rId2"/>
          <a:stretch>
            <a:fillRect/>
          </a:stretch>
        </p:blipFill>
        <p:spPr>
          <a:xfrm>
            <a:off x="20548" y="6513816"/>
            <a:ext cx="2804831" cy="323635"/>
          </a:xfrm>
          <a:prstGeom prst="rect">
            <a:avLst/>
          </a:prstGeom>
        </p:spPr>
      </p:pic>
      <p:grpSp>
        <p:nvGrpSpPr>
          <p:cNvPr id="15" name="グループ化 14"/>
          <p:cNvGrpSpPr/>
          <p:nvPr userDrawn="1"/>
        </p:nvGrpSpPr>
        <p:grpSpPr>
          <a:xfrm>
            <a:off x="6892917" y="322296"/>
            <a:ext cx="647700" cy="180975"/>
            <a:chOff x="5810250" y="381000"/>
            <a:chExt cx="647700" cy="180975"/>
          </a:xfrm>
        </p:grpSpPr>
        <p:sp>
          <p:nvSpPr>
            <p:cNvPr id="16" name="円/楕円 15"/>
            <p:cNvSpPr/>
            <p:nvPr userDrawn="1"/>
          </p:nvSpPr>
          <p:spPr bwMode="gray">
            <a:xfrm rot="19977884">
              <a:off x="5810250" y="381000"/>
              <a:ext cx="447675" cy="114300"/>
            </a:xfrm>
            <a:prstGeom prst="ellipse">
              <a:avLst/>
            </a:prstGeom>
            <a:noFill/>
            <a:ln w="3175">
              <a:solidFill>
                <a:srgbClr val="0070C0"/>
              </a:solidFill>
              <a:miter lim="800000"/>
              <a:headEnd/>
              <a:tailEnd/>
            </a:ln>
          </p:spPr>
          <p:txBody>
            <a:bodyPr rtlCol="0" anchor="ctr"/>
            <a:lstStyle/>
            <a:p>
              <a:pPr algn="ctr"/>
              <a:endParaRPr kumimoji="1" lang="ja-JP" altLang="en-US" sz="2200" b="1" dirty="0" smtClean="0">
                <a:solidFill>
                  <a:srgbClr val="33464D"/>
                </a:solidFill>
                <a:ea typeface="ＭＳ Ｐゴシック" pitchFamily="50" charset="-128"/>
              </a:endParaRPr>
            </a:p>
          </p:txBody>
        </p:sp>
        <p:sp>
          <p:nvSpPr>
            <p:cNvPr id="17" name="円/楕円 16"/>
            <p:cNvSpPr/>
            <p:nvPr userDrawn="1"/>
          </p:nvSpPr>
          <p:spPr bwMode="gray">
            <a:xfrm rot="1335407">
              <a:off x="6010275" y="447675"/>
              <a:ext cx="447675" cy="114300"/>
            </a:xfrm>
            <a:prstGeom prst="ellipse">
              <a:avLst/>
            </a:prstGeom>
            <a:noFill/>
            <a:ln w="3175">
              <a:solidFill>
                <a:srgbClr val="0070C0"/>
              </a:solidFill>
              <a:miter lim="800000"/>
              <a:headEnd/>
              <a:tailEnd/>
            </a:ln>
          </p:spPr>
          <p:txBody>
            <a:bodyPr rtlCol="0" anchor="ctr"/>
            <a:lstStyle/>
            <a:p>
              <a:pPr algn="ctr"/>
              <a:endParaRPr kumimoji="1" lang="ja-JP" altLang="en-US" sz="2200" b="1" dirty="0" smtClean="0">
                <a:solidFill>
                  <a:srgbClr val="33464D"/>
                </a:solidFill>
                <a:ea typeface="ＭＳ Ｐゴシック" pitchFamily="50" charset="-128"/>
              </a:endParaRPr>
            </a:p>
          </p:txBody>
        </p:sp>
      </p:grpSp>
      <p:sp>
        <p:nvSpPr>
          <p:cNvPr id="18" name="テキスト ボックス 17"/>
          <p:cNvSpPr txBox="1"/>
          <p:nvPr userDrawn="1"/>
        </p:nvSpPr>
        <p:spPr>
          <a:xfrm>
            <a:off x="6715125" y="289370"/>
            <a:ext cx="3014539" cy="288147"/>
          </a:xfrm>
          <a:prstGeom prst="rect">
            <a:avLst/>
          </a:prstGeom>
          <a:noFill/>
        </p:spPr>
        <p:txBody>
          <a:bodyPr wrap="square" lIns="36000" tIns="36000" rIns="36000" bIns="36000" rtlCol="0" anchor="ctr" anchorCtr="0">
            <a:spAutoFit/>
          </a:bodyPr>
          <a:lstStyle/>
          <a:p>
            <a:pPr algn="r"/>
            <a:r>
              <a:rPr kumimoji="1" lang="en-US" altLang="ja-JP" sz="1400" b="1" dirty="0" smtClean="0">
                <a:solidFill>
                  <a:schemeClr val="bg1">
                    <a:lumMod val="50000"/>
                  </a:schemeClr>
                </a:solidFill>
                <a:latin typeface="メイリオ" pitchFamily="50" charset="-128"/>
                <a:ea typeface="メイリオ" pitchFamily="50" charset="-128"/>
                <a:cs typeface="メイリオ" pitchFamily="50" charset="-128"/>
              </a:rPr>
              <a:t>BIG DATA Department</a:t>
            </a:r>
            <a:endParaRPr kumimoji="1" lang="ja-JP" altLang="en-US" sz="1400" b="1" dirty="0" smtClean="0">
              <a:solidFill>
                <a:schemeClr val="bg1">
                  <a:lumMod val="50000"/>
                </a:schemeClr>
              </a:solidFill>
              <a:latin typeface="メイリオ" pitchFamily="50" charset="-128"/>
              <a:ea typeface="メイリオ" pitchFamily="50" charset="-128"/>
              <a:cs typeface="メイリオ" pitchFamily="50" charset="-128"/>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ユーザー設定レイアウト">
    <p:spTree>
      <p:nvGrpSpPr>
        <p:cNvPr id="1" name=""/>
        <p:cNvGrpSpPr/>
        <p:nvPr/>
      </p:nvGrpSpPr>
      <p:grpSpPr>
        <a:xfrm>
          <a:off x="0" y="0"/>
          <a:ext cx="0" cy="0"/>
          <a:chOff x="0" y="0"/>
          <a:chExt cx="0" cy="0"/>
        </a:xfrm>
      </p:grpSpPr>
      <p:graphicFrame>
        <p:nvGraphicFramePr>
          <p:cNvPr id="8"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00" name="think-cell Slide" r:id="rId6" imgW="360" imgH="360" progId="">
                  <p:embed/>
                </p:oleObj>
              </mc:Choice>
              <mc:Fallback>
                <p:oleObj name="think-cell Slide" r:id="rId6" imgW="360" imgH="360" progId="">
                  <p:embed/>
                  <p:pic>
                    <p:nvPicPr>
                      <p:cNvPr id="0" name="Picture 3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9" name="Line 8"/>
          <p:cNvSpPr>
            <a:spLocks noChangeShapeType="1"/>
          </p:cNvSpPr>
          <p:nvPr>
            <p:custDataLst>
              <p:tags r:id="rId3"/>
            </p:custDataLst>
          </p:nvPr>
        </p:nvSpPr>
        <p:spPr bwMode="auto">
          <a:xfrm>
            <a:off x="703263" y="1630363"/>
            <a:ext cx="3960812" cy="0"/>
          </a:xfrm>
          <a:prstGeom prst="line">
            <a:avLst/>
          </a:prstGeom>
          <a:noFill/>
          <a:ln w="6350">
            <a:solidFill>
              <a:schemeClr val="tx1"/>
            </a:solidFill>
            <a:round/>
            <a:headEnd/>
            <a:tailEnd/>
          </a:ln>
          <a:effectLst/>
        </p:spPr>
        <p:txBody>
          <a:bodyPr wrap="none" lIns="0" tIns="0" rIns="0" bIns="0" anchor="ctr"/>
          <a:lstStyle/>
          <a:p>
            <a:pPr eaLnBrk="0" hangingPunct="0">
              <a:defRPr/>
            </a:pPr>
            <a:endParaRPr lang="en-US">
              <a:ea typeface="ヒラギノ角ゴ Pro W3" charset="-128"/>
              <a:cs typeface="+mn-cs"/>
            </a:endParaRPr>
          </a:p>
        </p:txBody>
      </p:sp>
      <p:sp>
        <p:nvSpPr>
          <p:cNvPr id="10" name="Line 10"/>
          <p:cNvSpPr>
            <a:spLocks noChangeShapeType="1"/>
          </p:cNvSpPr>
          <p:nvPr>
            <p:custDataLst>
              <p:tags r:id="rId4"/>
            </p:custDataLst>
          </p:nvPr>
        </p:nvSpPr>
        <p:spPr bwMode="auto">
          <a:xfrm>
            <a:off x="5240338" y="1630363"/>
            <a:ext cx="3960812" cy="0"/>
          </a:xfrm>
          <a:prstGeom prst="line">
            <a:avLst/>
          </a:prstGeom>
          <a:noFill/>
          <a:ln w="6350">
            <a:solidFill>
              <a:schemeClr val="tx1"/>
            </a:solidFill>
            <a:round/>
            <a:headEnd/>
            <a:tailEnd/>
          </a:ln>
          <a:effectLst/>
        </p:spPr>
        <p:txBody>
          <a:bodyPr wrap="none" lIns="0" tIns="0" rIns="0" bIns="0" anchor="ctr"/>
          <a:lstStyle/>
          <a:p>
            <a:pPr eaLnBrk="0" hangingPunct="0">
              <a:defRPr/>
            </a:pPr>
            <a:endParaRPr lang="en-US">
              <a:ea typeface="ヒラギノ角ゴ Pro W3" charset="-128"/>
              <a:cs typeface="+mn-cs"/>
            </a:endParaRPr>
          </a:p>
        </p:txBody>
      </p:sp>
      <p:sp>
        <p:nvSpPr>
          <p:cNvPr id="11" name="Text Placeholder 10"/>
          <p:cNvSpPr>
            <a:spLocks noGrp="1"/>
          </p:cNvSpPr>
          <p:nvPr>
            <p:ph type="body" sz="quarter" idx="10"/>
          </p:nvPr>
        </p:nvSpPr>
        <p:spPr>
          <a:xfrm>
            <a:off x="703584" y="1230004"/>
            <a:ext cx="3962400" cy="357214"/>
          </a:xfrm>
        </p:spPr>
        <p:txBody>
          <a:bodyPr anchor="b">
            <a:noAutofit/>
          </a:bodyPr>
          <a:lstStyle>
            <a:lvl1pPr algn="ctr">
              <a:defRPr sz="2000">
                <a:latin typeface="+mn-lt"/>
              </a:defRPr>
            </a:lvl1pPr>
          </a:lstStyle>
          <a:p>
            <a:pPr lvl="0"/>
            <a:r>
              <a:rPr lang="ja-JP" altLang="en-US" dirty="0" smtClean="0"/>
              <a:t>マスタ テキストの書式設定</a:t>
            </a:r>
          </a:p>
        </p:txBody>
      </p:sp>
      <p:sp>
        <p:nvSpPr>
          <p:cNvPr id="12" name="Text Placeholder 10"/>
          <p:cNvSpPr>
            <a:spLocks noGrp="1"/>
          </p:cNvSpPr>
          <p:nvPr>
            <p:ph type="body" sz="quarter" idx="11"/>
          </p:nvPr>
        </p:nvSpPr>
        <p:spPr>
          <a:xfrm>
            <a:off x="5239072" y="1230004"/>
            <a:ext cx="3962400" cy="357214"/>
          </a:xfrm>
        </p:spPr>
        <p:txBody>
          <a:bodyPr anchor="b">
            <a:noAutofit/>
          </a:bodyPr>
          <a:lstStyle>
            <a:lvl1pPr algn="ctr">
              <a:defRPr sz="2000">
                <a:latin typeface="+mn-lt"/>
              </a:defRPr>
            </a:lvl1pPr>
          </a:lstStyle>
          <a:p>
            <a:pPr lvl="0"/>
            <a:r>
              <a:rPr lang="ja-JP" altLang="en-US" smtClean="0"/>
              <a:t>マスタ テキストの書式設定</a:t>
            </a:r>
          </a:p>
        </p:txBody>
      </p:sp>
      <p:sp>
        <p:nvSpPr>
          <p:cNvPr id="2" name="Title 1"/>
          <p:cNvSpPr>
            <a:spLocks noGrp="1"/>
          </p:cNvSpPr>
          <p:nvPr>
            <p:ph type="title"/>
          </p:nvPr>
        </p:nvSpPr>
        <p:spPr/>
        <p:txBody>
          <a:bodyPr/>
          <a:lstStyle>
            <a:lvl1pPr>
              <a:defRPr sz="2400"/>
            </a:lvl1pPr>
          </a:lstStyle>
          <a:p>
            <a:r>
              <a:rPr lang="ja-JP" altLang="en-US" dirty="0" smtClean="0"/>
              <a:t>マスタ タイトルの書式設定</a:t>
            </a:r>
            <a:endParaRPr lang="en-US" dirty="0"/>
          </a:p>
        </p:txBody>
      </p:sp>
      <p:sp>
        <p:nvSpPr>
          <p:cNvPr id="14" name="Text Placeholder 13"/>
          <p:cNvSpPr>
            <a:spLocks noGrp="1"/>
          </p:cNvSpPr>
          <p:nvPr>
            <p:ph type="body" sz="quarter" idx="12"/>
          </p:nvPr>
        </p:nvSpPr>
        <p:spPr>
          <a:xfrm>
            <a:off x="703584" y="1702580"/>
            <a:ext cx="3962400" cy="850900"/>
          </a:xfrm>
        </p:spPr>
        <p:txBody>
          <a:bodyPr>
            <a:noAutofit/>
          </a:bodyPr>
          <a:lstStyle>
            <a:lvl1pPr>
              <a:buClr>
                <a:srgbClr val="0065BD"/>
              </a:buClr>
              <a:defRPr sz="2000"/>
            </a:lvl1pPr>
            <a:lvl2pPr>
              <a:buClr>
                <a:srgbClr val="0065BD"/>
              </a:buClr>
              <a:defRPr sz="1800"/>
            </a:lvl2pPr>
            <a:lvl3pPr>
              <a:buClr>
                <a:srgbClr val="0065BD"/>
              </a:buClr>
              <a:defRPr sz="1600"/>
            </a:lvl3pPr>
            <a:lvl4pPr>
              <a:buClr>
                <a:srgbClr val="0065BD"/>
              </a:buClr>
              <a:defRPr sz="1400"/>
            </a:lvl4pPr>
            <a:lvl5pPr>
              <a:buClr>
                <a:srgbClr val="0065BD"/>
              </a:buClr>
              <a:defRPr sz="1400"/>
            </a:lvl5pPr>
          </a:lstStyle>
          <a:p>
            <a:pPr lvl="0"/>
            <a:r>
              <a:rPr lang="ja-JP" altLang="en-US" dirty="0" smtClean="0"/>
              <a:t>マスタ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US" dirty="0"/>
          </a:p>
        </p:txBody>
      </p:sp>
      <p:sp>
        <p:nvSpPr>
          <p:cNvPr id="15" name="Text Placeholder 13"/>
          <p:cNvSpPr>
            <a:spLocks noGrp="1"/>
          </p:cNvSpPr>
          <p:nvPr>
            <p:ph type="body" sz="quarter" idx="13"/>
          </p:nvPr>
        </p:nvSpPr>
        <p:spPr>
          <a:xfrm>
            <a:off x="5239072" y="1702580"/>
            <a:ext cx="3962400" cy="850900"/>
          </a:xfrm>
        </p:spPr>
        <p:txBody>
          <a:bodyPr>
            <a:noAutofit/>
          </a:bodyPr>
          <a:lstStyle>
            <a:lvl1pPr>
              <a:buClr>
                <a:srgbClr val="0065BD"/>
              </a:buClr>
              <a:defRPr sz="2000"/>
            </a:lvl1pPr>
            <a:lvl2pPr>
              <a:buClr>
                <a:srgbClr val="0065BD"/>
              </a:buClr>
              <a:defRPr sz="1800"/>
            </a:lvl2pPr>
            <a:lvl3pPr>
              <a:buClr>
                <a:srgbClr val="0065BD"/>
              </a:buClr>
              <a:defRPr sz="1600"/>
            </a:lvl3pPr>
            <a:lvl4pPr>
              <a:buClr>
                <a:srgbClr val="0065BD"/>
              </a:buClr>
              <a:defRPr sz="1400"/>
            </a:lvl4pPr>
            <a:lvl5pPr>
              <a:buClr>
                <a:srgbClr val="0065BD"/>
              </a:buClr>
              <a:defRPr sz="1400"/>
            </a:lvl5pPr>
          </a:lstStyle>
          <a:p>
            <a:pPr lvl="0"/>
            <a:r>
              <a:rPr lang="ja-JP" altLang="en-US" dirty="0" smtClean="0"/>
              <a:t>マスタ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US" dirty="0"/>
          </a:p>
        </p:txBody>
      </p:sp>
      <p:sp>
        <p:nvSpPr>
          <p:cNvPr id="16" name="Text Placeholder 10"/>
          <p:cNvSpPr>
            <a:spLocks noGrp="1"/>
          </p:cNvSpPr>
          <p:nvPr>
            <p:ph type="body" sz="quarter" idx="14"/>
          </p:nvPr>
        </p:nvSpPr>
        <p:spPr>
          <a:xfrm>
            <a:off x="2470150" y="6021387"/>
            <a:ext cx="4965700" cy="355600"/>
          </a:xfrm>
          <a:solidFill>
            <a:schemeClr val="bg1"/>
          </a:solidFill>
          <a:ln w="6350">
            <a:solidFill>
              <a:schemeClr val="tx1"/>
            </a:solidFill>
            <a:miter lim="800000"/>
            <a:headEnd/>
            <a:tailEnd/>
          </a:ln>
          <a:effectLst>
            <a:outerShdw dist="35921" dir="2700000" algn="ctr" rotWithShape="0">
              <a:schemeClr val="bg2"/>
            </a:outerShdw>
          </a:effectLst>
        </p:spPr>
        <p:txBody>
          <a:bodyPr wrap="none" anchor="ctr">
            <a:noAutofit/>
          </a:bodyPr>
          <a:lstStyle>
            <a:lvl1pPr algn="ctr" rtl="0" eaLnBrk="0" fontAlgn="base" hangingPunct="0">
              <a:spcBef>
                <a:spcPct val="0"/>
              </a:spcBef>
              <a:spcAft>
                <a:spcPct val="0"/>
              </a:spcAft>
              <a:defRPr kumimoji="1" lang="en-US" altLang="en-US" sz="2000" kern="1200" dirty="0">
                <a:solidFill>
                  <a:srgbClr val="33464D"/>
                </a:solidFill>
                <a:latin typeface="+mn-lt"/>
                <a:ea typeface="ＭＳ Ｐゴシック" charset="-128"/>
                <a:cs typeface="+mn-cs"/>
              </a:defRPr>
            </a:lvl1pPr>
          </a:lstStyle>
          <a:p>
            <a:pPr lvl="0"/>
            <a:r>
              <a:rPr lang="ja-JP" altLang="en-US" dirty="0" smtClean="0"/>
              <a:t>マスタ テキストの書式設定</a:t>
            </a:r>
          </a:p>
        </p:txBody>
      </p:sp>
      <p:sp>
        <p:nvSpPr>
          <p:cNvPr id="17" name="Rectangle 6"/>
          <p:cNvSpPr>
            <a:spLocks noGrp="1" noChangeArrowheads="1"/>
          </p:cNvSpPr>
          <p:nvPr>
            <p:ph type="sldNum" sz="quarter" idx="15"/>
          </p:nvPr>
        </p:nvSpPr>
        <p:spPr/>
        <p:txBody>
          <a:bodyPr/>
          <a:lstStyle>
            <a:lvl1pPr algn="r" eaLnBrk="0" hangingPunct="0">
              <a:defRPr kumimoji="0" sz="1400">
                <a:solidFill>
                  <a:srgbClr val="34464D"/>
                </a:solidFill>
                <a:ea typeface="Osaka" charset="-128"/>
              </a:defRPr>
            </a:lvl1pPr>
          </a:lstStyle>
          <a:p>
            <a:pPr>
              <a:defRPr/>
            </a:pPr>
            <a:fld id="{839DD536-588D-48C3-858D-C2E891A4FE60}" type="slidenum">
              <a:rPr lang="en-US" altLang="ja-JP"/>
              <a:pPr>
                <a:defRPr/>
              </a:pPr>
              <a:t>‹#›</a:t>
            </a:fld>
            <a:endParaRPr lang="en-US" altLang="ja-JP"/>
          </a:p>
        </p:txBody>
      </p:sp>
      <p:pic>
        <p:nvPicPr>
          <p:cNvPr id="18" name="図 17" descr="R-tech.png"/>
          <p:cNvPicPr>
            <a:picLocks noChangeAspect="1"/>
          </p:cNvPicPr>
          <p:nvPr userDrawn="1"/>
        </p:nvPicPr>
        <p:blipFill>
          <a:blip r:embed="rId8"/>
          <a:stretch>
            <a:fillRect/>
          </a:stretch>
        </p:blipFill>
        <p:spPr>
          <a:xfrm>
            <a:off x="20548" y="6513816"/>
            <a:ext cx="2804831" cy="323635"/>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graphicFrame>
        <p:nvGraphicFramePr>
          <p:cNvPr id="8"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816" name="think-cell Slide" r:id="rId4" imgW="360" imgH="360" progId="">
                  <p:embed/>
                </p:oleObj>
              </mc:Choice>
              <mc:Fallback>
                <p:oleObj name="think-cell Slide" r:id="rId4" imgW="360" imgH="360" progId="">
                  <p:embed/>
                  <p:pic>
                    <p:nvPicPr>
                      <p:cNvPr id="0" name="Picture 3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ext Placeholder 10"/>
          <p:cNvSpPr>
            <a:spLocks noGrp="1"/>
          </p:cNvSpPr>
          <p:nvPr>
            <p:ph type="body" sz="quarter" idx="10"/>
          </p:nvPr>
        </p:nvSpPr>
        <p:spPr>
          <a:xfrm>
            <a:off x="703584" y="1230004"/>
            <a:ext cx="3962400" cy="357214"/>
          </a:xfrm>
        </p:spPr>
        <p:txBody>
          <a:bodyPr anchor="b">
            <a:noAutofit/>
          </a:bodyPr>
          <a:lstStyle>
            <a:lvl1pPr algn="ctr">
              <a:defRPr sz="2000">
                <a:solidFill>
                  <a:srgbClr val="33464D"/>
                </a:solidFill>
                <a:latin typeface="+mn-lt"/>
              </a:defRPr>
            </a:lvl1pPr>
          </a:lstStyle>
          <a:p>
            <a:pPr lvl="0"/>
            <a:r>
              <a:rPr lang="ja-JP" altLang="en-US" dirty="0" smtClean="0"/>
              <a:t>マスタ テキストの書式設定</a:t>
            </a:r>
          </a:p>
        </p:txBody>
      </p:sp>
      <p:sp>
        <p:nvSpPr>
          <p:cNvPr id="12" name="Text Placeholder 10"/>
          <p:cNvSpPr>
            <a:spLocks noGrp="1"/>
          </p:cNvSpPr>
          <p:nvPr>
            <p:ph type="body" sz="quarter" idx="11"/>
          </p:nvPr>
        </p:nvSpPr>
        <p:spPr>
          <a:xfrm>
            <a:off x="5239072" y="1230004"/>
            <a:ext cx="3962400" cy="357214"/>
          </a:xfrm>
        </p:spPr>
        <p:txBody>
          <a:bodyPr anchor="b">
            <a:noAutofit/>
          </a:bodyPr>
          <a:lstStyle>
            <a:lvl1pPr algn="ctr">
              <a:defRPr sz="2000">
                <a:solidFill>
                  <a:srgbClr val="33464D"/>
                </a:solidFill>
                <a:latin typeface="+mn-lt"/>
              </a:defRPr>
            </a:lvl1pPr>
          </a:lstStyle>
          <a:p>
            <a:pPr lvl="0"/>
            <a:r>
              <a:rPr lang="ja-JP" altLang="en-US" smtClean="0"/>
              <a:t>マスタ テキストの書式設定</a:t>
            </a:r>
          </a:p>
        </p:txBody>
      </p:sp>
      <p:sp>
        <p:nvSpPr>
          <p:cNvPr id="2" name="Title 1"/>
          <p:cNvSpPr>
            <a:spLocks noGrp="1"/>
          </p:cNvSpPr>
          <p:nvPr>
            <p:ph type="title"/>
          </p:nvPr>
        </p:nvSpPr>
        <p:spPr/>
        <p:txBody>
          <a:bodyPr/>
          <a:lstStyle>
            <a:lvl1pPr>
              <a:defRPr sz="2400"/>
            </a:lvl1pPr>
          </a:lstStyle>
          <a:p>
            <a:r>
              <a:rPr lang="ja-JP" altLang="en-US" smtClean="0"/>
              <a:t>マスタ タイトルの書式設定</a:t>
            </a:r>
            <a:endParaRPr lang="en-US" dirty="0"/>
          </a:p>
        </p:txBody>
      </p:sp>
      <p:sp>
        <p:nvSpPr>
          <p:cNvPr id="14" name="Text Placeholder 13"/>
          <p:cNvSpPr>
            <a:spLocks noGrp="1"/>
          </p:cNvSpPr>
          <p:nvPr>
            <p:ph type="body" sz="quarter" idx="12"/>
          </p:nvPr>
        </p:nvSpPr>
        <p:spPr>
          <a:xfrm>
            <a:off x="703584" y="1702580"/>
            <a:ext cx="3962400" cy="850900"/>
          </a:xfrm>
        </p:spPr>
        <p:txBody>
          <a:bodyPr>
            <a:noAutofit/>
          </a:bodyPr>
          <a:lstStyle>
            <a:lvl1pPr>
              <a:buClr>
                <a:srgbClr val="0065BD"/>
              </a:buClr>
              <a:defRPr sz="2000"/>
            </a:lvl1pPr>
            <a:lvl2pPr>
              <a:buClr>
                <a:srgbClr val="0065BD"/>
              </a:buClr>
              <a:defRPr sz="1800"/>
            </a:lvl2pPr>
            <a:lvl3pPr>
              <a:buClr>
                <a:srgbClr val="0065BD"/>
              </a:buClr>
              <a:defRPr sz="1600"/>
            </a:lvl3pPr>
            <a:lvl4pPr>
              <a:buClr>
                <a:srgbClr val="0065BD"/>
              </a:buClr>
              <a:defRPr sz="1400"/>
            </a:lvl4pPr>
            <a:lvl5pPr>
              <a:buClr>
                <a:srgbClr val="0065BD"/>
              </a:buClr>
              <a:defRPr sz="1400"/>
            </a:lvl5pPr>
          </a:lstStyle>
          <a:p>
            <a:pPr lvl="0"/>
            <a:r>
              <a:rPr lang="ja-JP" altLang="en-US" dirty="0" smtClean="0"/>
              <a:t>マスタ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US" dirty="0"/>
          </a:p>
        </p:txBody>
      </p:sp>
      <p:sp>
        <p:nvSpPr>
          <p:cNvPr id="15" name="Text Placeholder 13"/>
          <p:cNvSpPr>
            <a:spLocks noGrp="1"/>
          </p:cNvSpPr>
          <p:nvPr>
            <p:ph type="body" sz="quarter" idx="13"/>
          </p:nvPr>
        </p:nvSpPr>
        <p:spPr>
          <a:xfrm>
            <a:off x="5239072" y="1702580"/>
            <a:ext cx="3962400" cy="850900"/>
          </a:xfrm>
        </p:spPr>
        <p:txBody>
          <a:bodyPr>
            <a:noAutofit/>
          </a:bodyPr>
          <a:lstStyle>
            <a:lvl1pPr>
              <a:buClr>
                <a:srgbClr val="0065BD"/>
              </a:buClr>
              <a:defRPr sz="2000"/>
            </a:lvl1pPr>
            <a:lvl2pPr>
              <a:buClr>
                <a:srgbClr val="0065BD"/>
              </a:buClr>
              <a:defRPr sz="1800"/>
            </a:lvl2pPr>
            <a:lvl3pPr>
              <a:buClr>
                <a:srgbClr val="0065BD"/>
              </a:buClr>
              <a:defRPr sz="1600"/>
            </a:lvl3pPr>
            <a:lvl4pPr>
              <a:buClr>
                <a:srgbClr val="0065BD"/>
              </a:buClr>
              <a:defRPr sz="1400"/>
            </a:lvl4pPr>
            <a:lvl5pPr>
              <a:buClr>
                <a:srgbClr val="0065BD"/>
              </a:buClr>
              <a:defRPr sz="1400"/>
            </a:lvl5pPr>
          </a:lstStyle>
          <a:p>
            <a:pPr lvl="0"/>
            <a:r>
              <a:rPr lang="ja-JP" altLang="en-US" dirty="0" smtClean="0"/>
              <a:t>マスタ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US" dirty="0"/>
          </a:p>
        </p:txBody>
      </p:sp>
      <p:sp>
        <p:nvSpPr>
          <p:cNvPr id="16" name="Text Placeholder 10"/>
          <p:cNvSpPr>
            <a:spLocks noGrp="1"/>
          </p:cNvSpPr>
          <p:nvPr>
            <p:ph type="body" sz="quarter" idx="14"/>
          </p:nvPr>
        </p:nvSpPr>
        <p:spPr>
          <a:xfrm>
            <a:off x="2470150" y="6021387"/>
            <a:ext cx="4965700" cy="355600"/>
          </a:xfrm>
          <a:solidFill>
            <a:schemeClr val="bg1"/>
          </a:solidFill>
          <a:ln w="6350">
            <a:solidFill>
              <a:schemeClr val="tx1"/>
            </a:solidFill>
            <a:miter lim="800000"/>
            <a:headEnd/>
            <a:tailEnd/>
          </a:ln>
          <a:effectLst>
            <a:outerShdw dist="35921" dir="2700000" algn="ctr" rotWithShape="0">
              <a:schemeClr val="bg2"/>
            </a:outerShdw>
          </a:effectLst>
        </p:spPr>
        <p:txBody>
          <a:bodyPr wrap="none" anchor="ctr">
            <a:noAutofit/>
          </a:bodyPr>
          <a:lstStyle>
            <a:lvl1pPr algn="ctr" rtl="0" eaLnBrk="0" fontAlgn="base" hangingPunct="0">
              <a:spcBef>
                <a:spcPct val="0"/>
              </a:spcBef>
              <a:spcAft>
                <a:spcPct val="0"/>
              </a:spcAft>
              <a:defRPr kumimoji="1" lang="en-US" altLang="en-US" sz="2000" kern="1200" dirty="0">
                <a:solidFill>
                  <a:srgbClr val="33464D"/>
                </a:solidFill>
                <a:latin typeface="+mn-lt"/>
                <a:ea typeface="ＭＳ Ｐゴシック" charset="-128"/>
                <a:cs typeface="+mn-cs"/>
              </a:defRPr>
            </a:lvl1pPr>
          </a:lstStyle>
          <a:p>
            <a:pPr lvl="0"/>
            <a:r>
              <a:rPr lang="ja-JP" altLang="en-US" dirty="0" smtClean="0"/>
              <a:t>マスタ テキストの書式設定</a:t>
            </a:r>
          </a:p>
        </p:txBody>
      </p:sp>
      <p:sp>
        <p:nvSpPr>
          <p:cNvPr id="17" name="Rectangle 6"/>
          <p:cNvSpPr>
            <a:spLocks noGrp="1" noChangeArrowheads="1"/>
          </p:cNvSpPr>
          <p:nvPr>
            <p:ph type="sldNum" sz="quarter" idx="15"/>
          </p:nvPr>
        </p:nvSpPr>
        <p:spPr/>
        <p:txBody>
          <a:bodyPr/>
          <a:lstStyle>
            <a:lvl1pPr algn="r" eaLnBrk="0" hangingPunct="0">
              <a:defRPr kumimoji="0" sz="1400">
                <a:solidFill>
                  <a:srgbClr val="34464D"/>
                </a:solidFill>
                <a:ea typeface="Osaka" charset="-128"/>
              </a:defRPr>
            </a:lvl1pPr>
          </a:lstStyle>
          <a:p>
            <a:pPr>
              <a:defRPr/>
            </a:pPr>
            <a:fld id="{839DD536-588D-48C3-858D-C2E891A4FE60}" type="slidenum">
              <a:rPr lang="en-US" altLang="ja-JP"/>
              <a:pPr>
                <a:defRPr/>
              </a:pPr>
              <a:t>‹#›</a:t>
            </a:fld>
            <a:endParaRPr lang="en-US" altLang="ja-JP"/>
          </a:p>
        </p:txBody>
      </p:sp>
      <p:pic>
        <p:nvPicPr>
          <p:cNvPr id="13" name="図 12" descr="R-tech.png"/>
          <p:cNvPicPr>
            <a:picLocks noChangeAspect="1"/>
          </p:cNvPicPr>
          <p:nvPr userDrawn="1"/>
        </p:nvPicPr>
        <p:blipFill>
          <a:blip r:embed="rId6"/>
          <a:stretch>
            <a:fillRect/>
          </a:stretch>
        </p:blipFill>
        <p:spPr>
          <a:xfrm>
            <a:off x="20548" y="6513816"/>
            <a:ext cx="2804831" cy="323635"/>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sz="2400"/>
            </a:lvl1pPr>
          </a:lstStyle>
          <a:p>
            <a:r>
              <a:rPr lang="ja-JP" altLang="en-US" smtClean="0"/>
              <a:t>マスタ タイトルの書式設定</a:t>
            </a:r>
            <a:endParaRPr lang="en-US" dirty="0"/>
          </a:p>
        </p:txBody>
      </p:sp>
      <p:sp>
        <p:nvSpPr>
          <p:cNvPr id="9" name="テキスト プレースホルダ 8"/>
          <p:cNvSpPr>
            <a:spLocks noGrp="1"/>
          </p:cNvSpPr>
          <p:nvPr>
            <p:ph type="body" sz="quarter" idx="10"/>
          </p:nvPr>
        </p:nvSpPr>
        <p:spPr>
          <a:xfrm>
            <a:off x="703584" y="1637088"/>
            <a:ext cx="3962400" cy="4042820"/>
          </a:xfrm>
          <a:ln>
            <a:solidFill>
              <a:schemeClr val="tx1"/>
            </a:solidFill>
          </a:ln>
        </p:spPr>
        <p:txBody>
          <a:bodyPr lIns="36000" tIns="36000" rIns="36000">
            <a:noAutofit/>
          </a:bodyPr>
          <a:lstStyle>
            <a:lvl1pPr>
              <a:buClr>
                <a:srgbClr val="0065BD"/>
              </a:buClr>
              <a:defRPr sz="2000">
                <a:latin typeface="+mn-lt"/>
              </a:defRPr>
            </a:lvl1pPr>
            <a:lvl2pPr>
              <a:buClr>
                <a:srgbClr val="0065BD"/>
              </a:buClr>
              <a:defRPr sz="1800">
                <a:latin typeface="+mn-lt"/>
              </a:defRPr>
            </a:lvl2pPr>
            <a:lvl3pPr>
              <a:buClr>
                <a:srgbClr val="0065BD"/>
              </a:buClr>
              <a:defRPr sz="1600">
                <a:latin typeface="+mn-lt"/>
              </a:defRPr>
            </a:lvl3pPr>
            <a:lvl4pPr>
              <a:buClr>
                <a:srgbClr val="0065BD"/>
              </a:buClr>
              <a:defRPr sz="1400">
                <a:latin typeface="+mn-lt"/>
              </a:defRPr>
            </a:lvl4pPr>
            <a:lvl5pPr>
              <a:buClr>
                <a:srgbClr val="0065BD"/>
              </a:buClr>
              <a:defRPr sz="1400">
                <a:latin typeface="+mn-lt"/>
              </a:defRPr>
            </a:lvl5pPr>
          </a:lstStyle>
          <a:p>
            <a:pPr lvl="0"/>
            <a:r>
              <a:rPr lang="ja-JP" altLang="en-US" dirty="0" smtClean="0"/>
              <a:t>マスタ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US" dirty="0"/>
          </a:p>
        </p:txBody>
      </p:sp>
      <p:sp>
        <p:nvSpPr>
          <p:cNvPr id="10" name="テキスト プレースホルダ 8"/>
          <p:cNvSpPr>
            <a:spLocks noGrp="1"/>
          </p:cNvSpPr>
          <p:nvPr>
            <p:ph type="body" sz="quarter" idx="11"/>
          </p:nvPr>
        </p:nvSpPr>
        <p:spPr>
          <a:xfrm>
            <a:off x="5239072" y="1637088"/>
            <a:ext cx="3962400" cy="4042820"/>
          </a:xfrm>
          <a:ln>
            <a:solidFill>
              <a:schemeClr val="tx1"/>
            </a:solidFill>
          </a:ln>
        </p:spPr>
        <p:txBody>
          <a:bodyPr lIns="36000" tIns="36000" rIns="36000">
            <a:noAutofit/>
          </a:bodyPr>
          <a:lstStyle>
            <a:lvl1pPr>
              <a:buClr>
                <a:srgbClr val="0065BD"/>
              </a:buClr>
              <a:defRPr sz="2000">
                <a:latin typeface="+mn-lt"/>
              </a:defRPr>
            </a:lvl1pPr>
            <a:lvl2pPr>
              <a:buClr>
                <a:srgbClr val="0065BD"/>
              </a:buClr>
              <a:defRPr sz="1800">
                <a:latin typeface="+mn-lt"/>
              </a:defRPr>
            </a:lvl2pPr>
            <a:lvl3pPr>
              <a:buClr>
                <a:srgbClr val="0065BD"/>
              </a:buClr>
              <a:defRPr sz="1600">
                <a:latin typeface="+mn-lt"/>
              </a:defRPr>
            </a:lvl3pPr>
            <a:lvl4pPr>
              <a:buClr>
                <a:srgbClr val="0065BD"/>
              </a:buClr>
              <a:defRPr sz="1400">
                <a:latin typeface="+mn-lt"/>
              </a:defRPr>
            </a:lvl4pPr>
            <a:lvl5pPr>
              <a:buClr>
                <a:srgbClr val="0065BD"/>
              </a:buClr>
              <a:defRPr sz="1400">
                <a:latin typeface="+mn-lt"/>
              </a:defRPr>
            </a:lvl5pPr>
          </a:lstStyle>
          <a:p>
            <a:pPr lvl="0"/>
            <a:r>
              <a:rPr lang="ja-JP" altLang="en-US" dirty="0" smtClean="0"/>
              <a:t>マスタ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US" dirty="0"/>
          </a:p>
        </p:txBody>
      </p:sp>
      <p:sp>
        <p:nvSpPr>
          <p:cNvPr id="12" name="テキスト プレースホルダ 11"/>
          <p:cNvSpPr>
            <a:spLocks noGrp="1"/>
          </p:cNvSpPr>
          <p:nvPr>
            <p:ph type="body" sz="quarter" idx="12"/>
          </p:nvPr>
        </p:nvSpPr>
        <p:spPr>
          <a:xfrm>
            <a:off x="703584" y="1125537"/>
            <a:ext cx="3962400" cy="508000"/>
          </a:xfrm>
          <a:solidFill>
            <a:srgbClr val="79BCFF"/>
          </a:solidFill>
          <a:ln>
            <a:solidFill>
              <a:schemeClr val="tx1"/>
            </a:solidFill>
          </a:ln>
        </p:spPr>
        <p:txBody>
          <a:bodyPr lIns="36000" tIns="36000" rIns="36000" anchor="ctr">
            <a:noAutofit/>
          </a:bodyPr>
          <a:lstStyle>
            <a:lvl1pPr algn="ctr">
              <a:defRPr sz="2000">
                <a:solidFill>
                  <a:srgbClr val="33464D"/>
                </a:solidFill>
                <a:latin typeface="+mn-lt"/>
              </a:defRPr>
            </a:lvl1pPr>
            <a:lvl2pPr algn="ctr">
              <a:defRPr/>
            </a:lvl2pPr>
            <a:lvl3pPr algn="ctr">
              <a:defRPr/>
            </a:lvl3pPr>
            <a:lvl4pPr algn="ctr">
              <a:defRPr/>
            </a:lvl4pPr>
            <a:lvl5pPr algn="ctr">
              <a:defRPr/>
            </a:lvl5pPr>
          </a:lstStyle>
          <a:p>
            <a:pPr lvl="0"/>
            <a:r>
              <a:rPr lang="ja-JP" altLang="en-US" dirty="0" smtClean="0"/>
              <a:t>マスタ テキストの書式設定</a:t>
            </a:r>
          </a:p>
        </p:txBody>
      </p:sp>
      <p:sp>
        <p:nvSpPr>
          <p:cNvPr id="13" name="テキスト プレースホルダ 11"/>
          <p:cNvSpPr>
            <a:spLocks noGrp="1"/>
          </p:cNvSpPr>
          <p:nvPr>
            <p:ph type="body" sz="quarter" idx="13"/>
          </p:nvPr>
        </p:nvSpPr>
        <p:spPr>
          <a:xfrm>
            <a:off x="5239072" y="1125537"/>
            <a:ext cx="3962400" cy="508000"/>
          </a:xfrm>
          <a:solidFill>
            <a:srgbClr val="79BCFF"/>
          </a:solidFill>
          <a:ln>
            <a:solidFill>
              <a:schemeClr val="tx1"/>
            </a:solidFill>
          </a:ln>
        </p:spPr>
        <p:txBody>
          <a:bodyPr anchor="ctr">
            <a:noAutofit/>
          </a:bodyPr>
          <a:lstStyle>
            <a:lvl1pPr algn="ctr">
              <a:defRPr sz="2000">
                <a:solidFill>
                  <a:srgbClr val="33464D"/>
                </a:solidFill>
                <a:latin typeface="+mn-lt"/>
              </a:defRPr>
            </a:lvl1pPr>
            <a:lvl2pPr algn="ctr">
              <a:defRPr/>
            </a:lvl2pPr>
            <a:lvl3pPr algn="ctr">
              <a:defRPr/>
            </a:lvl3pPr>
            <a:lvl4pPr algn="ctr">
              <a:defRPr/>
            </a:lvl4pPr>
            <a:lvl5pPr algn="ctr">
              <a:defRPr/>
            </a:lvl5pPr>
          </a:lstStyle>
          <a:p>
            <a:pPr lvl="0"/>
            <a:r>
              <a:rPr lang="ja-JP" altLang="en-US" smtClean="0"/>
              <a:t>マスタ テキストの書式設定</a:t>
            </a:r>
          </a:p>
        </p:txBody>
      </p:sp>
      <p:sp>
        <p:nvSpPr>
          <p:cNvPr id="16" name="テキスト プレースホルダ 11"/>
          <p:cNvSpPr>
            <a:spLocks noGrp="1"/>
          </p:cNvSpPr>
          <p:nvPr>
            <p:ph type="body" sz="quarter" idx="14"/>
          </p:nvPr>
        </p:nvSpPr>
        <p:spPr>
          <a:xfrm>
            <a:off x="2470150" y="6021387"/>
            <a:ext cx="4965700" cy="355600"/>
          </a:xfrm>
          <a:solidFill>
            <a:schemeClr val="bg1"/>
          </a:solidFill>
          <a:ln w="6350">
            <a:solidFill>
              <a:schemeClr val="tx1"/>
            </a:solidFill>
            <a:miter lim="800000"/>
            <a:headEnd/>
            <a:tailEnd/>
          </a:ln>
          <a:effectLst>
            <a:outerShdw dist="35921" dir="2700000" algn="ctr" rotWithShape="0">
              <a:schemeClr val="bg2"/>
            </a:outerShdw>
          </a:effectLst>
        </p:spPr>
        <p:txBody>
          <a:bodyPr wrap="none" lIns="36000" tIns="36000" rIns="36000" anchor="ctr">
            <a:noAutofit/>
          </a:bodyPr>
          <a:lstStyle>
            <a:lvl1pPr algn="ctr" rtl="0" eaLnBrk="0" fontAlgn="base" hangingPunct="0">
              <a:spcBef>
                <a:spcPct val="0"/>
              </a:spcBef>
              <a:spcAft>
                <a:spcPct val="0"/>
              </a:spcAft>
              <a:defRPr kumimoji="1" lang="en-US" altLang="en-US" sz="2000" kern="1200" dirty="0">
                <a:solidFill>
                  <a:srgbClr val="33464D"/>
                </a:solidFill>
                <a:latin typeface="+mn-lt"/>
                <a:ea typeface="ＭＳ Ｐゴシック" charset="-128"/>
                <a:cs typeface="+mn-cs"/>
              </a:defRPr>
            </a:lvl1pPr>
            <a:lvl2pPr algn="ctr">
              <a:defRPr/>
            </a:lvl2pPr>
            <a:lvl3pPr algn="ctr">
              <a:defRPr/>
            </a:lvl3pPr>
            <a:lvl4pPr algn="ctr">
              <a:defRPr/>
            </a:lvl4pPr>
            <a:lvl5pPr algn="ctr">
              <a:defRPr/>
            </a:lvl5pPr>
          </a:lstStyle>
          <a:p>
            <a:pPr lvl="0"/>
            <a:r>
              <a:rPr lang="ja-JP" altLang="en-US" dirty="0" smtClean="0"/>
              <a:t>マスタ テキストの書式設定</a:t>
            </a:r>
          </a:p>
        </p:txBody>
      </p:sp>
      <p:sp>
        <p:nvSpPr>
          <p:cNvPr id="11" name="Rectangle 6"/>
          <p:cNvSpPr>
            <a:spLocks noGrp="1" noChangeArrowheads="1"/>
          </p:cNvSpPr>
          <p:nvPr>
            <p:ph type="sldNum" sz="quarter" idx="15"/>
          </p:nvPr>
        </p:nvSpPr>
        <p:spPr/>
        <p:txBody>
          <a:bodyPr/>
          <a:lstStyle>
            <a:lvl1pPr algn="r" eaLnBrk="0" hangingPunct="0">
              <a:defRPr kumimoji="0" sz="1400">
                <a:solidFill>
                  <a:srgbClr val="34464D"/>
                </a:solidFill>
                <a:ea typeface="Osaka" charset="-128"/>
              </a:defRPr>
            </a:lvl1pPr>
          </a:lstStyle>
          <a:p>
            <a:pPr>
              <a:defRPr/>
            </a:pPr>
            <a:fld id="{3E4E6FCE-7E8A-47C7-9739-400BCEB66898}" type="slidenum">
              <a:rPr lang="en-US" altLang="ja-JP"/>
              <a:pPr>
                <a:defRPr/>
              </a:pPr>
              <a:t>‹#›</a:t>
            </a:fld>
            <a:endParaRPr lang="en-US" altLang="ja-JP"/>
          </a:p>
        </p:txBody>
      </p:sp>
      <p:pic>
        <p:nvPicPr>
          <p:cNvPr id="15" name="図 14" descr="R-tech.png"/>
          <p:cNvPicPr>
            <a:picLocks noChangeAspect="1"/>
          </p:cNvPicPr>
          <p:nvPr userDrawn="1"/>
        </p:nvPicPr>
        <p:blipFill>
          <a:blip r:embed="rId2"/>
          <a:stretch>
            <a:fillRect/>
          </a:stretch>
        </p:blipFill>
        <p:spPr>
          <a:xfrm>
            <a:off x="20548" y="6513816"/>
            <a:ext cx="2804831" cy="323635"/>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531813" y="133350"/>
            <a:ext cx="8890000" cy="431800"/>
          </a:xfrm>
          <a:prstGeom prst="rect">
            <a:avLst/>
          </a:prstGeom>
          <a:noFill/>
          <a:ln w="9525">
            <a:noFill/>
            <a:miter lim="800000"/>
            <a:headEnd/>
            <a:tailEnd/>
          </a:ln>
        </p:spPr>
        <p:txBody>
          <a:bodyPr vert="horz" wrap="square" lIns="0" tIns="36000" rIns="0" bIns="36000" numCol="1" anchor="ctr" anchorCtr="0" compatLnSpc="1">
            <a:prstTxWarp prst="textNoShape">
              <a:avLst/>
            </a:prstTxWarp>
          </a:bodyPr>
          <a:lstStyle/>
          <a:p>
            <a:pPr lvl="0"/>
            <a:r>
              <a:rPr lang="ja-JP" altLang="en-US" dirty="0" smtClean="0"/>
              <a:t>マスタ</a:t>
            </a:r>
            <a:r>
              <a:rPr lang="en-US" altLang="ja-JP" dirty="0" smtClean="0"/>
              <a:t> </a:t>
            </a:r>
            <a:r>
              <a:rPr lang="ja-JP" altLang="en-US" dirty="0" smtClean="0"/>
              <a:t>タイトルの書式設定</a:t>
            </a:r>
          </a:p>
        </p:txBody>
      </p:sp>
      <p:sp>
        <p:nvSpPr>
          <p:cNvPr id="3075" name="Rectangle 3"/>
          <p:cNvSpPr>
            <a:spLocks noGrp="1" noChangeArrowheads="1"/>
          </p:cNvSpPr>
          <p:nvPr>
            <p:ph type="body" idx="1"/>
          </p:nvPr>
        </p:nvSpPr>
        <p:spPr bwMode="auto">
          <a:xfrm>
            <a:off x="381000" y="762000"/>
            <a:ext cx="9120188" cy="5110163"/>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p>
            <a:pPr lvl="0"/>
            <a:r>
              <a:rPr lang="ja-JP" altLang="en-US" dirty="0" smtClean="0"/>
              <a:t>マスタ</a:t>
            </a:r>
            <a:r>
              <a:rPr lang="en-US" altLang="ja-JP" dirty="0" smtClean="0"/>
              <a:t> </a:t>
            </a:r>
            <a:r>
              <a:rPr lang="ja-JP" altLang="en-US" dirty="0" smtClean="0"/>
              <a:t>テキストの書式設定</a:t>
            </a:r>
            <a:endParaRPr lang="en-US" altLang="ja-JP" dirty="0" smtClean="0"/>
          </a:p>
          <a:p>
            <a:pPr lvl="1"/>
            <a:r>
              <a:rPr lang="ja-JP" altLang="en-US" dirty="0" smtClean="0"/>
              <a:t>第</a:t>
            </a:r>
            <a:r>
              <a:rPr lang="en-US" altLang="ja-JP" dirty="0" smtClean="0"/>
              <a:t> 2 </a:t>
            </a:r>
            <a:r>
              <a:rPr lang="ja-JP" altLang="en-US" dirty="0" smtClean="0"/>
              <a:t>レベル</a:t>
            </a:r>
            <a:endParaRPr lang="en-US" altLang="ja-JP" dirty="0" smtClean="0"/>
          </a:p>
          <a:p>
            <a:pPr lvl="2"/>
            <a:r>
              <a:rPr lang="ja-JP" altLang="en-US" dirty="0" smtClean="0"/>
              <a:t>第</a:t>
            </a:r>
            <a:r>
              <a:rPr lang="en-US" altLang="ja-JP" dirty="0" smtClean="0"/>
              <a:t> 3 </a:t>
            </a:r>
            <a:r>
              <a:rPr lang="ja-JP" altLang="en-US" dirty="0" smtClean="0"/>
              <a:t>レベル</a:t>
            </a:r>
            <a:endParaRPr lang="en-US" altLang="ja-JP" dirty="0" smtClean="0"/>
          </a:p>
          <a:p>
            <a:pPr lvl="3"/>
            <a:r>
              <a:rPr lang="ja-JP" altLang="en-US" dirty="0" smtClean="0"/>
              <a:t>第</a:t>
            </a:r>
            <a:r>
              <a:rPr lang="en-US" altLang="ja-JP" dirty="0" smtClean="0"/>
              <a:t> 4 </a:t>
            </a:r>
            <a:r>
              <a:rPr lang="ja-JP" altLang="en-US" dirty="0" smtClean="0"/>
              <a:t>レベル</a:t>
            </a:r>
            <a:endParaRPr lang="en-US" altLang="ja-JP" dirty="0" smtClean="0"/>
          </a:p>
          <a:p>
            <a:pPr lvl="4"/>
            <a:r>
              <a:rPr lang="ja-JP" altLang="en-US" dirty="0" smtClean="0"/>
              <a:t>第</a:t>
            </a:r>
            <a:r>
              <a:rPr lang="en-US" altLang="ja-JP" dirty="0" smtClean="0"/>
              <a:t> 5 </a:t>
            </a:r>
            <a:r>
              <a:rPr lang="ja-JP" altLang="en-US" dirty="0" smtClean="0"/>
              <a:t>レベル</a:t>
            </a:r>
          </a:p>
        </p:txBody>
      </p:sp>
      <p:sp>
        <p:nvSpPr>
          <p:cNvPr id="11" name="Rectangle 3"/>
          <p:cNvSpPr>
            <a:spLocks noChangeArrowheads="1"/>
          </p:cNvSpPr>
          <p:nvPr/>
        </p:nvSpPr>
        <p:spPr bwMode="auto">
          <a:xfrm>
            <a:off x="258763" y="287338"/>
            <a:ext cx="161925" cy="169862"/>
          </a:xfrm>
          <a:prstGeom prst="rect">
            <a:avLst/>
          </a:prstGeom>
          <a:gradFill flip="none" rotWithShape="1">
            <a:gsLst>
              <a:gs pos="0">
                <a:srgbClr val="5C7F92">
                  <a:tint val="66000"/>
                  <a:satMod val="160000"/>
                </a:srgbClr>
              </a:gs>
              <a:gs pos="50000">
                <a:srgbClr val="5C7F92">
                  <a:tint val="44500"/>
                  <a:satMod val="160000"/>
                </a:srgbClr>
              </a:gs>
              <a:gs pos="100000">
                <a:srgbClr val="5C7F92">
                  <a:tint val="23500"/>
                  <a:satMod val="160000"/>
                </a:srgbClr>
              </a:gs>
            </a:gsLst>
            <a:path path="circle">
              <a:fillToRect l="50000" t="50000" r="50000" b="50000"/>
            </a:path>
            <a:tileRect/>
          </a:gradFill>
          <a:ln w="12700">
            <a:solidFill>
              <a:srgbClr val="0065BD"/>
            </a:solidFill>
            <a:miter lim="800000"/>
            <a:headEnd/>
            <a:tailEnd/>
          </a:ln>
          <a:effectLst/>
        </p:spPr>
        <p:txBody>
          <a:bodyPr wrap="none" anchor="ctr"/>
          <a:lstStyle/>
          <a:p>
            <a:pPr eaLnBrk="0" hangingPunct="0">
              <a:defRPr/>
            </a:pPr>
            <a:endParaRPr lang="en-US" dirty="0">
              <a:ea typeface="ヒラギノ角ゴ Pro W3" charset="-128"/>
              <a:cs typeface="+mn-cs"/>
            </a:endParaRPr>
          </a:p>
        </p:txBody>
      </p:sp>
      <p:sp>
        <p:nvSpPr>
          <p:cNvPr id="12" name="Line 4"/>
          <p:cNvSpPr>
            <a:spLocks noChangeShapeType="1"/>
          </p:cNvSpPr>
          <p:nvPr/>
        </p:nvSpPr>
        <p:spPr bwMode="auto">
          <a:xfrm>
            <a:off x="136525" y="623888"/>
            <a:ext cx="9601200" cy="0"/>
          </a:xfrm>
          <a:prstGeom prst="line">
            <a:avLst/>
          </a:prstGeom>
          <a:noFill/>
          <a:ln w="57150" cmpd="thickThin">
            <a:solidFill>
              <a:srgbClr val="0065BD"/>
            </a:solidFill>
            <a:round/>
            <a:headEnd/>
            <a:tailEnd/>
          </a:ln>
          <a:effectLst/>
        </p:spPr>
        <p:txBody>
          <a:bodyPr wrap="none" anchor="ctr"/>
          <a:lstStyle/>
          <a:p>
            <a:pPr eaLnBrk="0" hangingPunct="0">
              <a:defRPr/>
            </a:pPr>
            <a:endParaRPr lang="en-US" dirty="0">
              <a:ea typeface="ヒラギノ角ゴ Pro W3" charset="-128"/>
              <a:cs typeface="+mn-cs"/>
            </a:endParaRPr>
          </a:p>
        </p:txBody>
      </p:sp>
      <p:sp>
        <p:nvSpPr>
          <p:cNvPr id="10" name="Rectangle 6"/>
          <p:cNvSpPr>
            <a:spLocks noGrp="1" noChangeArrowheads="1"/>
          </p:cNvSpPr>
          <p:nvPr>
            <p:ph type="sldNum" sz="quarter" idx="4"/>
          </p:nvPr>
        </p:nvSpPr>
        <p:spPr bwMode="auto">
          <a:xfrm>
            <a:off x="7842250" y="6424447"/>
            <a:ext cx="2063750" cy="433553"/>
          </a:xfrm>
          <a:prstGeom prst="rect">
            <a:avLst/>
          </a:prstGeom>
          <a:noFill/>
          <a:ln>
            <a:noFill/>
          </a:ln>
          <a:effectLst/>
          <a:extLst/>
        </p:spPr>
        <p:txBody>
          <a:bodyPr vert="horz" wrap="none" lIns="108000" tIns="108000" rIns="108000" bIns="108000" numCol="1" anchor="ctr" anchorCtr="0" compatLnSpc="1">
            <a:prstTxWarp prst="textNoShape">
              <a:avLst/>
            </a:prstTxWarp>
            <a:noAutofit/>
          </a:bodyPr>
          <a:lstStyle>
            <a:lvl1pPr algn="r" eaLnBrk="0" hangingPunct="0">
              <a:defRPr kumimoji="0" sz="1400">
                <a:solidFill>
                  <a:srgbClr val="34464D"/>
                </a:solidFill>
                <a:ea typeface="Osaka" charset="-128"/>
                <a:cs typeface="+mn-cs"/>
              </a:defRPr>
            </a:lvl1pPr>
          </a:lstStyle>
          <a:p>
            <a:pPr>
              <a:defRPr/>
            </a:pPr>
            <a:fld id="{03BD0955-65FB-4ED1-B234-0C0457698042}" type="slidenum">
              <a:rPr lang="en-US" altLang="ja-JP"/>
              <a:pPr>
                <a:defRPr/>
              </a:pPr>
              <a:t>‹#›</a:t>
            </a:fld>
            <a:endParaRPr lang="en-US" altLang="ja-JP" dirty="0"/>
          </a:p>
        </p:txBody>
      </p:sp>
      <p:sp>
        <p:nvSpPr>
          <p:cNvPr id="16" name="テキスト ボックス 15"/>
          <p:cNvSpPr txBox="1"/>
          <p:nvPr/>
        </p:nvSpPr>
        <p:spPr>
          <a:xfrm>
            <a:off x="3078163" y="6638925"/>
            <a:ext cx="3749675" cy="219075"/>
          </a:xfrm>
          <a:prstGeom prst="rect">
            <a:avLst/>
          </a:prstGeom>
          <a:noFill/>
          <a:ln>
            <a:noFill/>
          </a:ln>
          <a:effectLst/>
        </p:spPr>
        <p:txBody>
          <a:bodyPr anchor="ctr"/>
          <a:lstStyle/>
          <a:p>
            <a:pPr marL="0" marR="0" indent="0" algn="ctr" defTabSz="914400" rtl="0" eaLnBrk="1" fontAlgn="base" latinLnBrk="0" hangingPunct="1">
              <a:lnSpc>
                <a:spcPct val="100000"/>
              </a:lnSpc>
              <a:spcBef>
                <a:spcPct val="0"/>
              </a:spcBef>
              <a:spcAft>
                <a:spcPct val="0"/>
              </a:spcAft>
              <a:buClrTx/>
              <a:buSzTx/>
              <a:buFontTx/>
              <a:buNone/>
              <a:tabLst/>
              <a:defRPr/>
            </a:pPr>
            <a:r>
              <a:rPr kumimoji="0" lang="en-US" altLang="ja-JP" sz="800" dirty="0">
                <a:solidFill>
                  <a:srgbClr val="34464D"/>
                </a:solidFill>
                <a:ea typeface="Osaka" charset="-128"/>
                <a:cs typeface="Arial" pitchFamily="34" charset="0"/>
              </a:rPr>
              <a:t>(C) </a:t>
            </a:r>
            <a:r>
              <a:rPr kumimoji="0" lang="en-US" altLang="ja-JP" sz="800" dirty="0" smtClean="0">
                <a:solidFill>
                  <a:srgbClr val="34464D"/>
                </a:solidFill>
                <a:ea typeface="Osaka" charset="-128"/>
                <a:cs typeface="Arial" pitchFamily="34" charset="0"/>
              </a:rPr>
              <a:t>Recruit Technologies Co.,Ltd. All </a:t>
            </a:r>
            <a:r>
              <a:rPr kumimoji="0" lang="en-US" altLang="ja-JP" sz="800" dirty="0">
                <a:solidFill>
                  <a:srgbClr val="34464D"/>
                </a:solidFill>
                <a:ea typeface="Osaka" charset="-128"/>
                <a:cs typeface="Arial" pitchFamily="34" charset="0"/>
              </a:rPr>
              <a:t>rights reserved.</a:t>
            </a:r>
          </a:p>
        </p:txBody>
      </p:sp>
    </p:spTree>
  </p:cSld>
  <p:clrMap bg1="lt1" tx1="dk1" bg2="lt2" tx2="dk2" accent1="accent1" accent2="accent2" accent3="accent3" accent4="accent4" accent5="accent5" accent6="accent6" hlink="hlink" folHlink="folHlink"/>
  <p:sldLayoutIdLst>
    <p:sldLayoutId id="2147483737" r:id="rId1"/>
    <p:sldLayoutId id="2147483742" r:id="rId2"/>
    <p:sldLayoutId id="2147483743" r:id="rId3"/>
    <p:sldLayoutId id="2147483738" r:id="rId4"/>
    <p:sldLayoutId id="2147483741" r:id="rId5"/>
    <p:sldLayoutId id="2147483739" r:id="rId6"/>
    <p:sldLayoutId id="2147483740" r:id="rId7"/>
  </p:sldLayoutIdLst>
  <p:hf sldNum="0" hdr="0" dt="0"/>
  <p:txStyles>
    <p:titleStyle>
      <a:lvl1pPr algn="l" rtl="0" fontAlgn="base">
        <a:spcBef>
          <a:spcPct val="0"/>
        </a:spcBef>
        <a:spcAft>
          <a:spcPct val="0"/>
        </a:spcAft>
        <a:defRPr kumimoji="1" sz="2400" b="1">
          <a:solidFill>
            <a:srgbClr val="0065BD"/>
          </a:solidFill>
          <a:latin typeface="メイリオ" pitchFamily="50" charset="-128"/>
          <a:ea typeface="メイリオ" pitchFamily="50" charset="-128"/>
          <a:cs typeface="メイリオ" pitchFamily="50" charset="-128"/>
        </a:defRPr>
      </a:lvl1pPr>
      <a:lvl2pPr algn="l" rtl="0" fontAlgn="base">
        <a:spcBef>
          <a:spcPct val="0"/>
        </a:spcBef>
        <a:spcAft>
          <a:spcPct val="0"/>
        </a:spcAft>
        <a:defRPr kumimoji="1" sz="2000">
          <a:solidFill>
            <a:srgbClr val="005294"/>
          </a:solidFill>
          <a:latin typeface="Arial" charset="0"/>
          <a:ea typeface="ＭＳ Ｐゴシック" pitchFamily="50" charset="-128"/>
          <a:cs typeface="Osaka" charset="0"/>
        </a:defRPr>
      </a:lvl2pPr>
      <a:lvl3pPr algn="l" rtl="0" fontAlgn="base">
        <a:spcBef>
          <a:spcPct val="0"/>
        </a:spcBef>
        <a:spcAft>
          <a:spcPct val="0"/>
        </a:spcAft>
        <a:defRPr kumimoji="1" sz="2000">
          <a:solidFill>
            <a:srgbClr val="005294"/>
          </a:solidFill>
          <a:latin typeface="Arial" charset="0"/>
          <a:ea typeface="ＭＳ Ｐゴシック" pitchFamily="50" charset="-128"/>
          <a:cs typeface="Osaka" charset="0"/>
        </a:defRPr>
      </a:lvl3pPr>
      <a:lvl4pPr algn="l" rtl="0" fontAlgn="base">
        <a:spcBef>
          <a:spcPct val="0"/>
        </a:spcBef>
        <a:spcAft>
          <a:spcPct val="0"/>
        </a:spcAft>
        <a:defRPr kumimoji="1" sz="2000">
          <a:solidFill>
            <a:srgbClr val="005294"/>
          </a:solidFill>
          <a:latin typeface="Arial" charset="0"/>
          <a:ea typeface="ＭＳ Ｐゴシック" pitchFamily="50" charset="-128"/>
          <a:cs typeface="Osaka" charset="0"/>
        </a:defRPr>
      </a:lvl4pPr>
      <a:lvl5pPr algn="l" rtl="0" fontAlgn="base">
        <a:spcBef>
          <a:spcPct val="0"/>
        </a:spcBef>
        <a:spcAft>
          <a:spcPct val="0"/>
        </a:spcAft>
        <a:defRPr kumimoji="1" sz="2000">
          <a:solidFill>
            <a:srgbClr val="005294"/>
          </a:solidFill>
          <a:latin typeface="Arial" charset="0"/>
          <a:ea typeface="ＭＳ Ｐゴシック" pitchFamily="50" charset="-128"/>
          <a:cs typeface="Osaka" charset="0"/>
        </a:defRPr>
      </a:lvl5pPr>
      <a:lvl6pPr marL="457200" algn="l" rtl="0" eaLnBrk="1" fontAlgn="base" hangingPunct="1">
        <a:spcBef>
          <a:spcPct val="0"/>
        </a:spcBef>
        <a:spcAft>
          <a:spcPct val="0"/>
        </a:spcAft>
        <a:defRPr kumimoji="1" sz="3200">
          <a:solidFill>
            <a:srgbClr val="005395"/>
          </a:solidFill>
          <a:latin typeface="Arial" charset="0"/>
          <a:ea typeface="Osaka" charset="0"/>
          <a:cs typeface="Osaka" charset="0"/>
        </a:defRPr>
      </a:lvl6pPr>
      <a:lvl7pPr marL="914400" algn="l" rtl="0" eaLnBrk="1" fontAlgn="base" hangingPunct="1">
        <a:spcBef>
          <a:spcPct val="0"/>
        </a:spcBef>
        <a:spcAft>
          <a:spcPct val="0"/>
        </a:spcAft>
        <a:defRPr kumimoji="1" sz="3200">
          <a:solidFill>
            <a:srgbClr val="005395"/>
          </a:solidFill>
          <a:latin typeface="Arial" charset="0"/>
          <a:ea typeface="Osaka" charset="0"/>
          <a:cs typeface="Osaka" charset="0"/>
        </a:defRPr>
      </a:lvl7pPr>
      <a:lvl8pPr marL="1371600" algn="l" rtl="0" eaLnBrk="1" fontAlgn="base" hangingPunct="1">
        <a:spcBef>
          <a:spcPct val="0"/>
        </a:spcBef>
        <a:spcAft>
          <a:spcPct val="0"/>
        </a:spcAft>
        <a:defRPr kumimoji="1" sz="3200">
          <a:solidFill>
            <a:srgbClr val="005395"/>
          </a:solidFill>
          <a:latin typeface="Arial" charset="0"/>
          <a:ea typeface="Osaka" charset="0"/>
          <a:cs typeface="Osaka" charset="0"/>
        </a:defRPr>
      </a:lvl8pPr>
      <a:lvl9pPr marL="1828800" algn="l" rtl="0" eaLnBrk="1" fontAlgn="base" hangingPunct="1">
        <a:spcBef>
          <a:spcPct val="0"/>
        </a:spcBef>
        <a:spcAft>
          <a:spcPct val="0"/>
        </a:spcAft>
        <a:defRPr kumimoji="1" sz="3200">
          <a:solidFill>
            <a:srgbClr val="005395"/>
          </a:solidFill>
          <a:latin typeface="Arial" charset="0"/>
          <a:ea typeface="Osaka" charset="0"/>
          <a:cs typeface="Osaka" charset="0"/>
        </a:defRPr>
      </a:lvl9pPr>
    </p:titleStyle>
    <p:bodyStyle>
      <a:lvl1pPr marL="342900" indent="-342900" algn="l" rtl="0" fontAlgn="base">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fontAlgn="base">
        <a:spcBef>
          <a:spcPts val="838"/>
        </a:spcBef>
        <a:spcAft>
          <a:spcPct val="0"/>
        </a:spcAft>
        <a:buClr>
          <a:srgbClr val="0065BD"/>
        </a:buClr>
        <a:buFont typeface="Wingdings" pitchFamily="2" charset="2"/>
        <a:buChar char="l"/>
        <a:defRPr kumimoji="1" sz="2000" b="1">
          <a:solidFill>
            <a:srgbClr val="33464D"/>
          </a:solidFill>
          <a:latin typeface="メイリオ" pitchFamily="50" charset="-128"/>
          <a:ea typeface="メイリオ" pitchFamily="50" charset="-128"/>
          <a:cs typeface="メイリオ" pitchFamily="50" charset="-128"/>
        </a:defRPr>
      </a:lvl2pPr>
      <a:lvl3pPr marL="908050" indent="-342900" algn="l" rtl="0" fontAlgn="base">
        <a:spcBef>
          <a:spcPts val="838"/>
        </a:spcBef>
        <a:spcAft>
          <a:spcPct val="0"/>
        </a:spcAft>
        <a:buClr>
          <a:srgbClr val="0065BD"/>
        </a:buClr>
        <a:buFont typeface="Arial" panose="020B0604020202020204" pitchFamily="34" charset="0"/>
        <a:buChar char="•"/>
        <a:defRPr kumimoji="1" sz="2000" b="1">
          <a:solidFill>
            <a:srgbClr val="33464D"/>
          </a:solidFill>
          <a:latin typeface="メイリオ" pitchFamily="50" charset="-128"/>
          <a:ea typeface="メイリオ" pitchFamily="50" charset="-128"/>
          <a:cs typeface="メイリオ" pitchFamily="50" charset="-128"/>
        </a:defRPr>
      </a:lvl3pPr>
      <a:lvl4pPr marL="1228725" indent="-285750" algn="l" rtl="0" fontAlgn="base">
        <a:spcBef>
          <a:spcPts val="838"/>
        </a:spcBef>
        <a:spcAft>
          <a:spcPct val="0"/>
        </a:spcAft>
        <a:buClr>
          <a:srgbClr val="0065BD"/>
        </a:buClr>
        <a:buFont typeface="Wingdings" panose="05000000000000000000" pitchFamily="2" charset="2"/>
        <a:buChar char="Ø"/>
        <a:defRPr kumimoji="1" sz="1600" b="1">
          <a:solidFill>
            <a:srgbClr val="33464D"/>
          </a:solidFill>
          <a:latin typeface="メイリオ" pitchFamily="50" charset="-128"/>
          <a:ea typeface="メイリオ" pitchFamily="50" charset="-128"/>
          <a:cs typeface="メイリオ" pitchFamily="50" charset="-128"/>
        </a:defRPr>
      </a:lvl4pPr>
      <a:lvl5pPr marL="1520825" indent="-193675" algn="l" rtl="0" fontAlgn="base">
        <a:spcBef>
          <a:spcPts val="838"/>
        </a:spcBef>
        <a:spcAft>
          <a:spcPct val="0"/>
        </a:spcAft>
        <a:buClr>
          <a:srgbClr val="0065BD"/>
        </a:buClr>
        <a:defRPr kumimoji="1" sz="16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p:bodyStyle>
    <p:other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1" Type="http://schemas.openxmlformats.org/officeDocument/2006/relationships/slideLayout" Target="../slideLayouts/slideLayout4.xml"/><Relationship Id="rId2" Type="http://schemas.openxmlformats.org/officeDocument/2006/relationships/image" Target="../media/image1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4.tif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5" Type="http://schemas.openxmlformats.org/officeDocument/2006/relationships/image" Target="../media/image23.png"/><Relationship Id="rId6" Type="http://schemas.openxmlformats.org/officeDocument/2006/relationships/hyperlink" Target="https://aws.amazon.com/jp/ec2/spot/bid-advisor/" TargetMode="External"/><Relationship Id="rId1" Type="http://schemas.openxmlformats.org/officeDocument/2006/relationships/slideLayout" Target="../slideLayouts/slideLayout4.xml"/><Relationship Id="rId2" Type="http://schemas.openxmlformats.org/officeDocument/2006/relationships/notesSlide" Target="../notesSlides/notesSlide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5.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5.png"/></Relationships>
</file>

<file path=ppt/slides/_rels/slide5.xml.rels><?xml version="1.0" encoding="UTF-8" standalone="yes"?>
<Relationships xmlns="http://schemas.openxmlformats.org/package/2006/relationships"><Relationship Id="rId11" Type="http://schemas.openxmlformats.org/officeDocument/2006/relationships/image" Target="../media/image15.png"/><Relationship Id="rId12" Type="http://schemas.openxmlformats.org/officeDocument/2006/relationships/image" Target="../media/image16.png"/><Relationship Id="rId1" Type="http://schemas.openxmlformats.org/officeDocument/2006/relationships/slideLayout" Target="../slideLayouts/slideLayout4.xml"/><Relationship Id="rId2" Type="http://schemas.openxmlformats.org/officeDocument/2006/relationships/image" Target="../media/image6.png"/><Relationship Id="rId3" Type="http://schemas.openxmlformats.org/officeDocument/2006/relationships/image" Target="../media/image7.png"/><Relationship Id="rId4" Type="http://schemas.openxmlformats.org/officeDocument/2006/relationships/image" Target="../media/image8.png"/><Relationship Id="rId5" Type="http://schemas.openxmlformats.org/officeDocument/2006/relationships/image" Target="../media/image9.png"/><Relationship Id="rId6" Type="http://schemas.openxmlformats.org/officeDocument/2006/relationships/image" Target="../media/image10.png"/><Relationship Id="rId7" Type="http://schemas.openxmlformats.org/officeDocument/2006/relationships/image" Target="../media/image11.png"/><Relationship Id="rId8" Type="http://schemas.openxmlformats.org/officeDocument/2006/relationships/image" Target="../media/image12.png"/><Relationship Id="rId9" Type="http://schemas.openxmlformats.org/officeDocument/2006/relationships/image" Target="../media/image13.png"/><Relationship Id="rId10" Type="http://schemas.openxmlformats.org/officeDocument/2006/relationships/image" Target="../media/image1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27200" y="2371416"/>
            <a:ext cx="6153745" cy="1057588"/>
          </a:xfrm>
        </p:spPr>
        <p:txBody>
          <a:bodyPr/>
          <a:lstStyle/>
          <a:p>
            <a:r>
              <a:rPr lang="en-US" altLang="ja-JP" sz="3200" b="0" dirty="0" smtClean="0">
                <a:latin typeface="Noto Sans CJK JP Medium" charset="-128"/>
                <a:ea typeface="Noto Sans CJK JP Medium" charset="-128"/>
                <a:cs typeface="Noto Sans CJK JP Medium" charset="-128"/>
              </a:rPr>
              <a:t>EMR</a:t>
            </a:r>
            <a:r>
              <a:rPr lang="ja-JP" altLang="en-US" sz="3200" b="0" dirty="0" smtClean="0">
                <a:latin typeface="Noto Sans CJK JP Medium" charset="-128"/>
                <a:ea typeface="Noto Sans CJK JP Medium" charset="-128"/>
                <a:cs typeface="Noto Sans CJK JP Medium" charset="-128"/>
              </a:rPr>
              <a:t>でスポットインスタンスの自動入札ツールを作成する</a:t>
            </a:r>
            <a:endParaRPr lang="ja-JP" altLang="en-US" sz="3200" b="0" dirty="0">
              <a:latin typeface="Noto Sans CJK JP Medium" charset="-128"/>
              <a:ea typeface="Noto Sans CJK JP Medium" charset="-128"/>
              <a:cs typeface="Noto Sans CJK JP Medium" charset="-128"/>
            </a:endParaRPr>
          </a:p>
        </p:txBody>
      </p:sp>
      <p:sp>
        <p:nvSpPr>
          <p:cNvPr id="4" name="タイトル 1"/>
          <p:cNvSpPr txBox="1">
            <a:spLocks/>
          </p:cNvSpPr>
          <p:nvPr/>
        </p:nvSpPr>
        <p:spPr bwMode="auto">
          <a:xfrm>
            <a:off x="2057399" y="3738747"/>
            <a:ext cx="5493345" cy="565146"/>
          </a:xfrm>
          <a:prstGeom prst="rect">
            <a:avLst/>
          </a:prstGeom>
          <a:noFill/>
          <a:ln w="9525">
            <a:noFill/>
            <a:miter lim="800000"/>
            <a:headEnd/>
            <a:tailEnd/>
          </a:ln>
        </p:spPr>
        <p:txBody>
          <a:bodyPr vert="horz" wrap="square" lIns="36000" tIns="36000" rIns="36000" bIns="36000" numCol="1" anchor="b" anchorCtr="0" compatLnSpc="1">
            <a:prstTxWarp prst="textNoShape">
              <a:avLst/>
            </a:prstTxWarp>
            <a:spAutoFit/>
          </a:bodyPr>
          <a:lstStyle>
            <a:lvl1pPr algn="ctr" rtl="0" fontAlgn="base">
              <a:spcBef>
                <a:spcPct val="0"/>
              </a:spcBef>
              <a:spcAft>
                <a:spcPct val="0"/>
              </a:spcAft>
              <a:defRPr kumimoji="1" sz="3600" b="1">
                <a:solidFill>
                  <a:srgbClr val="33464D"/>
                </a:solidFill>
                <a:latin typeface="+mj-lt"/>
                <a:ea typeface="メイリオ" pitchFamily="50" charset="-128"/>
                <a:cs typeface="メイリオ" pitchFamily="50" charset="-128"/>
              </a:defRPr>
            </a:lvl1pPr>
            <a:lvl2pPr algn="l" rtl="0" fontAlgn="base">
              <a:spcBef>
                <a:spcPct val="0"/>
              </a:spcBef>
              <a:spcAft>
                <a:spcPct val="0"/>
              </a:spcAft>
              <a:defRPr kumimoji="1" sz="2000">
                <a:solidFill>
                  <a:srgbClr val="005294"/>
                </a:solidFill>
                <a:latin typeface="Arial" charset="0"/>
                <a:ea typeface="ＭＳ Ｐゴシック" pitchFamily="50" charset="-128"/>
                <a:cs typeface="Osaka" charset="0"/>
              </a:defRPr>
            </a:lvl2pPr>
            <a:lvl3pPr algn="l" rtl="0" fontAlgn="base">
              <a:spcBef>
                <a:spcPct val="0"/>
              </a:spcBef>
              <a:spcAft>
                <a:spcPct val="0"/>
              </a:spcAft>
              <a:defRPr kumimoji="1" sz="2000">
                <a:solidFill>
                  <a:srgbClr val="005294"/>
                </a:solidFill>
                <a:latin typeface="Arial" charset="0"/>
                <a:ea typeface="ＭＳ Ｐゴシック" pitchFamily="50" charset="-128"/>
                <a:cs typeface="Osaka" charset="0"/>
              </a:defRPr>
            </a:lvl3pPr>
            <a:lvl4pPr algn="l" rtl="0" fontAlgn="base">
              <a:spcBef>
                <a:spcPct val="0"/>
              </a:spcBef>
              <a:spcAft>
                <a:spcPct val="0"/>
              </a:spcAft>
              <a:defRPr kumimoji="1" sz="2000">
                <a:solidFill>
                  <a:srgbClr val="005294"/>
                </a:solidFill>
                <a:latin typeface="Arial" charset="0"/>
                <a:ea typeface="ＭＳ Ｐゴシック" pitchFamily="50" charset="-128"/>
                <a:cs typeface="Osaka" charset="0"/>
              </a:defRPr>
            </a:lvl4pPr>
            <a:lvl5pPr algn="l" rtl="0" fontAlgn="base">
              <a:spcBef>
                <a:spcPct val="0"/>
              </a:spcBef>
              <a:spcAft>
                <a:spcPct val="0"/>
              </a:spcAft>
              <a:defRPr kumimoji="1" sz="2000">
                <a:solidFill>
                  <a:srgbClr val="005294"/>
                </a:solidFill>
                <a:latin typeface="Arial" charset="0"/>
                <a:ea typeface="ＭＳ Ｐゴシック" pitchFamily="50" charset="-128"/>
                <a:cs typeface="Osaka" charset="0"/>
              </a:defRPr>
            </a:lvl5pPr>
            <a:lvl6pPr marL="457200" algn="l" rtl="0" eaLnBrk="1" fontAlgn="base" hangingPunct="1">
              <a:spcBef>
                <a:spcPct val="0"/>
              </a:spcBef>
              <a:spcAft>
                <a:spcPct val="0"/>
              </a:spcAft>
              <a:defRPr kumimoji="1" sz="3200">
                <a:solidFill>
                  <a:srgbClr val="005395"/>
                </a:solidFill>
                <a:latin typeface="Arial" charset="0"/>
                <a:ea typeface="Osaka" charset="0"/>
                <a:cs typeface="Osaka" charset="0"/>
              </a:defRPr>
            </a:lvl6pPr>
            <a:lvl7pPr marL="914400" algn="l" rtl="0" eaLnBrk="1" fontAlgn="base" hangingPunct="1">
              <a:spcBef>
                <a:spcPct val="0"/>
              </a:spcBef>
              <a:spcAft>
                <a:spcPct val="0"/>
              </a:spcAft>
              <a:defRPr kumimoji="1" sz="3200">
                <a:solidFill>
                  <a:srgbClr val="005395"/>
                </a:solidFill>
                <a:latin typeface="Arial" charset="0"/>
                <a:ea typeface="Osaka" charset="0"/>
                <a:cs typeface="Osaka" charset="0"/>
              </a:defRPr>
            </a:lvl7pPr>
            <a:lvl8pPr marL="1371600" algn="l" rtl="0" eaLnBrk="1" fontAlgn="base" hangingPunct="1">
              <a:spcBef>
                <a:spcPct val="0"/>
              </a:spcBef>
              <a:spcAft>
                <a:spcPct val="0"/>
              </a:spcAft>
              <a:defRPr kumimoji="1" sz="3200">
                <a:solidFill>
                  <a:srgbClr val="005395"/>
                </a:solidFill>
                <a:latin typeface="Arial" charset="0"/>
                <a:ea typeface="Osaka" charset="0"/>
                <a:cs typeface="Osaka" charset="0"/>
              </a:defRPr>
            </a:lvl8pPr>
            <a:lvl9pPr marL="1828800" algn="l" rtl="0" eaLnBrk="1" fontAlgn="base" hangingPunct="1">
              <a:spcBef>
                <a:spcPct val="0"/>
              </a:spcBef>
              <a:spcAft>
                <a:spcPct val="0"/>
              </a:spcAft>
              <a:defRPr kumimoji="1" sz="3200">
                <a:solidFill>
                  <a:srgbClr val="005395"/>
                </a:solidFill>
                <a:latin typeface="Arial" charset="0"/>
                <a:ea typeface="Osaka" charset="0"/>
                <a:cs typeface="Osaka" charset="0"/>
              </a:defRPr>
            </a:lvl9pPr>
          </a:lstStyle>
          <a:p>
            <a:r>
              <a:rPr lang="ja-JP" altLang="en-US" sz="3200" b="0" kern="0" dirty="0" smtClean="0">
                <a:latin typeface="Noto Sans CJK JP Medium" charset="-128"/>
                <a:ea typeface="Noto Sans CJK JP Medium" charset="-128"/>
                <a:cs typeface="Noto Sans CJK JP Medium" charset="-128"/>
              </a:rPr>
              <a:t>荻原</a:t>
            </a:r>
            <a:r>
              <a:rPr lang="en-US" altLang="ja-JP" sz="3200" b="0" kern="0" dirty="0">
                <a:latin typeface="Noto Sans CJK JP Medium" charset="-128"/>
                <a:ea typeface="Noto Sans CJK JP Medium" charset="-128"/>
                <a:cs typeface="Noto Sans CJK JP Medium" charset="-128"/>
              </a:rPr>
              <a:t> </a:t>
            </a:r>
            <a:r>
              <a:rPr lang="ja-JP" altLang="en-US" sz="3200" b="0" kern="0" dirty="0" smtClean="0">
                <a:latin typeface="Noto Sans CJK JP Medium" charset="-128"/>
                <a:ea typeface="Noto Sans CJK JP Medium" charset="-128"/>
                <a:cs typeface="Noto Sans CJK JP Medium" charset="-128"/>
              </a:rPr>
              <a:t>啓介</a:t>
            </a:r>
            <a:endParaRPr lang="ja-JP" altLang="en-US" sz="3200" b="0" kern="0" dirty="0">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17879945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スポットインスタンス入札リクエストの流れ</a:t>
            </a:r>
            <a:endParaRPr lang="en-US" b="0" dirty="0">
              <a:latin typeface="Noto Sans CJK JP Medium" charset="-128"/>
              <a:ea typeface="Noto Sans CJK JP Medium" charset="-128"/>
              <a:cs typeface="Noto Sans CJK JP Medium" charset="-128"/>
            </a:endParaRPr>
          </a:p>
        </p:txBody>
      </p:sp>
      <p:pic>
        <p:nvPicPr>
          <p:cNvPr id="4" name="Picture 3" descr="Clien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53" y="2299320"/>
            <a:ext cx="731520" cy="731520"/>
          </a:xfrm>
          <a:prstGeom prst="rect">
            <a:avLst/>
          </a:prstGeom>
        </p:spPr>
      </p:pic>
      <p:sp>
        <p:nvSpPr>
          <p:cNvPr id="5" name="TextBox 4"/>
          <p:cNvSpPr txBox="1"/>
          <p:nvPr/>
        </p:nvSpPr>
        <p:spPr>
          <a:xfrm>
            <a:off x="724217" y="3030840"/>
            <a:ext cx="1078992" cy="155448"/>
          </a:xfrm>
          <a:prstGeom prst="rect">
            <a:avLst/>
          </a:prstGeom>
          <a:noFill/>
        </p:spPr>
        <p:txBody>
          <a:bodyPr wrap="square" lIns="0" tIns="0" rIns="0" bIns="0" rtlCol="0">
            <a:noAutofit/>
          </a:bodyPr>
          <a:lstStyle/>
          <a:p>
            <a:pPr algn="ctr"/>
            <a:r>
              <a:rPr lang="en-US" sz="1000" dirty="0" smtClean="0">
                <a:latin typeface="Noto Sans CJK JP Medium" charset="-128"/>
                <a:ea typeface="Noto Sans CJK JP Medium" charset="-128"/>
                <a:cs typeface="Noto Sans CJK JP Medium" charset="-128"/>
              </a:rPr>
              <a:t>client</a:t>
            </a:r>
            <a:endParaRPr lang="en-US" sz="1000" dirty="0">
              <a:latin typeface="Noto Sans CJK JP Medium" charset="-128"/>
              <a:ea typeface="Noto Sans CJK JP Medium" charset="-128"/>
              <a:cs typeface="Noto Sans CJK JP Medium" charset="-128"/>
            </a:endParaRPr>
          </a:p>
        </p:txBody>
      </p:sp>
      <p:sp>
        <p:nvSpPr>
          <p:cNvPr id="8" name="Rounded Rectangle 7"/>
          <p:cNvSpPr/>
          <p:nvPr/>
        </p:nvSpPr>
        <p:spPr>
          <a:xfrm>
            <a:off x="2560109" y="1550799"/>
            <a:ext cx="4833408" cy="2574919"/>
          </a:xfrm>
          <a:prstGeom prst="roundRect">
            <a:avLst>
              <a:gd name="adj" fmla="val 9818"/>
            </a:avLst>
          </a:prstGeom>
          <a:noFill/>
          <a:ln w="19050">
            <a:solidFill>
              <a:srgbClr val="F7981F"/>
            </a:solidFill>
            <a:prstDash val="lgDash"/>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schemeClr val="tx1"/>
              </a:solidFill>
              <a:latin typeface="Noto Sans CJK JP Medium" charset="-128"/>
              <a:ea typeface="Noto Sans CJK JP Medium" charset="-128"/>
              <a:cs typeface="Noto Sans CJK JP Medium" charset="-128"/>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2184" y="2346119"/>
            <a:ext cx="530056" cy="636068"/>
          </a:xfrm>
          <a:prstGeom prst="rect">
            <a:avLst/>
          </a:prstGeom>
        </p:spPr>
      </p:pic>
      <p:sp>
        <p:nvSpPr>
          <p:cNvPr id="10" name="TextBox 9"/>
          <p:cNvSpPr txBox="1"/>
          <p:nvPr/>
        </p:nvSpPr>
        <p:spPr>
          <a:xfrm>
            <a:off x="5413063" y="2997136"/>
            <a:ext cx="731520" cy="155632"/>
          </a:xfrm>
          <a:prstGeom prst="rect">
            <a:avLst/>
          </a:prstGeom>
          <a:noFill/>
        </p:spPr>
        <p:txBody>
          <a:bodyPr wrap="square" lIns="0" tIns="0" rIns="0" bIns="0" rtlCol="0" anchor="t">
            <a:noAutofit/>
          </a:bodyPr>
          <a:lstStyle/>
          <a:p>
            <a:pPr algn="ctr"/>
            <a:r>
              <a:rPr lang="en-US" sz="1000" dirty="0" smtClean="0">
                <a:latin typeface="Noto Sans CJK JP Medium" charset="-128"/>
                <a:ea typeface="Noto Sans CJK JP Medium" charset="-128"/>
                <a:cs typeface="Noto Sans CJK JP Medium" charset="-128"/>
              </a:rPr>
              <a:t>Amazon EMR</a:t>
            </a:r>
            <a:endParaRPr lang="en-US" sz="1000" dirty="0">
              <a:latin typeface="Noto Sans CJK JP Medium" charset="-128"/>
              <a:ea typeface="Noto Sans CJK JP Medium" charset="-128"/>
              <a:cs typeface="Noto Sans CJK JP Medium" charset="-128"/>
            </a:endParaRPr>
          </a:p>
        </p:txBody>
      </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69848" y="2346119"/>
            <a:ext cx="544781" cy="653738"/>
          </a:xfrm>
          <a:prstGeom prst="rect">
            <a:avLst/>
          </a:prstGeom>
        </p:spPr>
      </p:pic>
      <p:sp>
        <p:nvSpPr>
          <p:cNvPr id="12" name="TextBox 11"/>
          <p:cNvSpPr txBox="1"/>
          <p:nvPr/>
        </p:nvSpPr>
        <p:spPr>
          <a:xfrm>
            <a:off x="3494553" y="3068765"/>
            <a:ext cx="811622" cy="203358"/>
          </a:xfrm>
          <a:prstGeom prst="rect">
            <a:avLst/>
          </a:prstGeom>
          <a:noFill/>
        </p:spPr>
        <p:txBody>
          <a:bodyPr wrap="square" lIns="0" tIns="0" rIns="0" bIns="0" rtlCol="0" anchor="t">
            <a:noAutofit/>
          </a:bodyPr>
          <a:lstStyle/>
          <a:p>
            <a:pPr algn="ctr"/>
            <a:r>
              <a:rPr lang="ja-JP" altLang="en-US" sz="1000" smtClean="0">
                <a:latin typeface="Noto Sans CJK JP Medium" charset="-128"/>
                <a:ea typeface="Noto Sans CJK JP Medium" charset="-128"/>
                <a:cs typeface="Noto Sans CJK JP Medium" charset="-128"/>
              </a:rPr>
              <a:t>踏み台サーバ</a:t>
            </a:r>
            <a:endParaRPr lang="en-US" dirty="0">
              <a:latin typeface="Noto Sans CJK JP Medium" charset="-128"/>
              <a:ea typeface="Noto Sans CJK JP Medium" charset="-128"/>
              <a:cs typeface="Noto Sans CJK JP Medium" charset="-128"/>
            </a:endParaRPr>
          </a:p>
        </p:txBody>
      </p:sp>
      <p:cxnSp>
        <p:nvCxnSpPr>
          <p:cNvPr id="13" name="Straight Connector 12"/>
          <p:cNvCxnSpPr>
            <a:stCxn id="11" idx="1"/>
            <a:endCxn id="4" idx="3"/>
          </p:cNvCxnSpPr>
          <p:nvPr/>
        </p:nvCxnSpPr>
        <p:spPr>
          <a:xfrm flipH="1" flipV="1">
            <a:off x="1629473" y="2665080"/>
            <a:ext cx="1940375" cy="7908"/>
          </a:xfrm>
          <a:prstGeom prst="line">
            <a:avLst/>
          </a:prstGeom>
          <a:ln>
            <a:solidFill>
              <a:srgbClr val="41404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a:stCxn id="9" idx="1"/>
            <a:endCxn id="11" idx="3"/>
          </p:cNvCxnSpPr>
          <p:nvPr/>
        </p:nvCxnSpPr>
        <p:spPr>
          <a:xfrm flipH="1">
            <a:off x="4114629" y="2664153"/>
            <a:ext cx="1407555" cy="8835"/>
          </a:xfrm>
          <a:prstGeom prst="line">
            <a:avLst/>
          </a:prstGeom>
          <a:ln>
            <a:solidFill>
              <a:srgbClr val="414042"/>
            </a:solidFill>
          </a:ln>
          <a:effectLst/>
        </p:spPr>
        <p:style>
          <a:lnRef idx="2">
            <a:schemeClr val="accent1"/>
          </a:lnRef>
          <a:fillRef idx="0">
            <a:schemeClr val="accent1"/>
          </a:fillRef>
          <a:effectRef idx="1">
            <a:schemeClr val="accent1"/>
          </a:effectRef>
          <a:fontRef idx="minor">
            <a:schemeClr val="tx1"/>
          </a:fontRef>
        </p:style>
      </p:cxnSp>
      <p:sp>
        <p:nvSpPr>
          <p:cNvPr id="21" name="Rounded Rectangle 20"/>
          <p:cNvSpPr/>
          <p:nvPr/>
        </p:nvSpPr>
        <p:spPr bwMode="gray">
          <a:xfrm>
            <a:off x="5734756" y="4323236"/>
            <a:ext cx="3804355" cy="1535697"/>
          </a:xfrm>
          <a:prstGeom prst="roundRect">
            <a:avLst/>
          </a:prstGeom>
          <a:noFill/>
          <a:ln w="19050" cmpd="sng">
            <a:solidFill>
              <a:schemeClr val="tx1"/>
            </a:solidFill>
            <a:miter lim="800000"/>
            <a:headEnd/>
            <a:tailEnd/>
          </a:ln>
        </p:spPr>
        <p:txBody>
          <a:bodyPr rtlCol="0" anchor="ctr"/>
          <a:lstStyle/>
          <a:p>
            <a:pPr algn="ctr"/>
            <a:endParaRPr lang="en-US" sz="1050" dirty="0" smtClean="0">
              <a:solidFill>
                <a:srgbClr val="33464D"/>
              </a:solidFill>
              <a:latin typeface="Noto Sans CJK JP Medium" charset="-128"/>
              <a:ea typeface="Noto Sans CJK JP Medium" charset="-128"/>
              <a:cs typeface="Noto Sans CJK JP Medium" charset="-128"/>
            </a:endParaRPr>
          </a:p>
        </p:txBody>
      </p:sp>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35908" y="4574048"/>
            <a:ext cx="544781" cy="653738"/>
          </a:xfrm>
          <a:prstGeom prst="rect">
            <a:avLst/>
          </a:prstGeom>
        </p:spPr>
      </p:pic>
      <p:sp>
        <p:nvSpPr>
          <p:cNvPr id="23" name="TextBox 22"/>
          <p:cNvSpPr txBox="1"/>
          <p:nvPr/>
        </p:nvSpPr>
        <p:spPr>
          <a:xfrm>
            <a:off x="6086408" y="5254972"/>
            <a:ext cx="643781" cy="155632"/>
          </a:xfrm>
          <a:prstGeom prst="rect">
            <a:avLst/>
          </a:prstGeom>
          <a:noFill/>
        </p:spPr>
        <p:txBody>
          <a:bodyPr wrap="square" lIns="0" tIns="0" rIns="0" bIns="0" rtlCol="0" anchor="t">
            <a:noAutofit/>
          </a:bodyPr>
          <a:lstStyle/>
          <a:p>
            <a:pPr algn="ctr"/>
            <a:r>
              <a:rPr lang="en-US" sz="1000" dirty="0" smtClean="0">
                <a:latin typeface="Noto Sans CJK JP Medium" charset="-128"/>
                <a:ea typeface="Noto Sans CJK JP Medium" charset="-128"/>
                <a:cs typeface="Noto Sans CJK JP Medium" charset="-128"/>
              </a:rPr>
              <a:t>Amazon EC2</a:t>
            </a:r>
            <a:endParaRPr lang="en-US" dirty="0">
              <a:latin typeface="Noto Sans CJK JP Medium" charset="-128"/>
              <a:ea typeface="Noto Sans CJK JP Medium" charset="-128"/>
              <a:cs typeface="Noto Sans CJK JP Medium" charset="-128"/>
            </a:endParaRPr>
          </a:p>
        </p:txBody>
      </p:sp>
      <p:pic>
        <p:nvPicPr>
          <p:cNvPr id="24" name="Picture 2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1126" y="4574048"/>
            <a:ext cx="544781" cy="653738"/>
          </a:xfrm>
          <a:prstGeom prst="rect">
            <a:avLst/>
          </a:prstGeom>
        </p:spPr>
      </p:pic>
      <p:sp>
        <p:nvSpPr>
          <p:cNvPr id="25" name="TextBox 24"/>
          <p:cNvSpPr txBox="1"/>
          <p:nvPr/>
        </p:nvSpPr>
        <p:spPr>
          <a:xfrm>
            <a:off x="7071626" y="5254972"/>
            <a:ext cx="643781" cy="155632"/>
          </a:xfrm>
          <a:prstGeom prst="rect">
            <a:avLst/>
          </a:prstGeom>
          <a:noFill/>
        </p:spPr>
        <p:txBody>
          <a:bodyPr wrap="square" lIns="0" tIns="0" rIns="0" bIns="0" rtlCol="0" anchor="t">
            <a:noAutofit/>
          </a:bodyPr>
          <a:lstStyle/>
          <a:p>
            <a:pPr algn="ctr"/>
            <a:r>
              <a:rPr lang="en-US" sz="1000" dirty="0" smtClean="0">
                <a:latin typeface="Noto Sans CJK JP Medium" charset="-128"/>
                <a:ea typeface="Noto Sans CJK JP Medium" charset="-128"/>
                <a:cs typeface="Noto Sans CJK JP Medium" charset="-128"/>
              </a:rPr>
              <a:t>Amazon EC2</a:t>
            </a:r>
            <a:endParaRPr lang="en-US" dirty="0">
              <a:latin typeface="Noto Sans CJK JP Medium" charset="-128"/>
              <a:ea typeface="Noto Sans CJK JP Medium" charset="-128"/>
              <a:cs typeface="Noto Sans CJK JP Medium" charset="-128"/>
            </a:endParaRPr>
          </a:p>
        </p:txBody>
      </p:sp>
      <p:pic>
        <p:nvPicPr>
          <p:cNvPr id="26" name="Picture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32977" y="4574048"/>
            <a:ext cx="544781" cy="653738"/>
          </a:xfrm>
          <a:prstGeom prst="rect">
            <a:avLst/>
          </a:prstGeom>
        </p:spPr>
      </p:pic>
      <p:sp>
        <p:nvSpPr>
          <p:cNvPr id="27" name="TextBox 26"/>
          <p:cNvSpPr txBox="1"/>
          <p:nvPr/>
        </p:nvSpPr>
        <p:spPr>
          <a:xfrm>
            <a:off x="7983477" y="5254972"/>
            <a:ext cx="643781" cy="155632"/>
          </a:xfrm>
          <a:prstGeom prst="rect">
            <a:avLst/>
          </a:prstGeom>
          <a:noFill/>
        </p:spPr>
        <p:txBody>
          <a:bodyPr wrap="square" lIns="0" tIns="0" rIns="0" bIns="0" rtlCol="0" anchor="t">
            <a:noAutofit/>
          </a:bodyPr>
          <a:lstStyle/>
          <a:p>
            <a:pPr algn="ctr"/>
            <a:r>
              <a:rPr lang="en-US" sz="1000" dirty="0" smtClean="0">
                <a:latin typeface="Noto Sans CJK JP Medium" charset="-128"/>
                <a:ea typeface="Noto Sans CJK JP Medium" charset="-128"/>
                <a:cs typeface="Noto Sans CJK JP Medium" charset="-128"/>
              </a:rPr>
              <a:t>Amazon EC2</a:t>
            </a:r>
            <a:endParaRPr lang="en-US" dirty="0">
              <a:latin typeface="Noto Sans CJK JP Medium" charset="-128"/>
              <a:ea typeface="Noto Sans CJK JP Medium" charset="-128"/>
              <a:cs typeface="Noto Sans CJK JP Medium" charset="-128"/>
            </a:endParaRPr>
          </a:p>
        </p:txBody>
      </p:sp>
      <p:sp>
        <p:nvSpPr>
          <p:cNvPr id="28" name="TextBox 27"/>
          <p:cNvSpPr txBox="1"/>
          <p:nvPr/>
        </p:nvSpPr>
        <p:spPr>
          <a:xfrm>
            <a:off x="8756850" y="4756843"/>
            <a:ext cx="1002479" cy="288147"/>
          </a:xfrm>
          <a:prstGeom prst="rect">
            <a:avLst/>
          </a:prstGeom>
          <a:noFill/>
        </p:spPr>
        <p:txBody>
          <a:bodyPr wrap="square" lIns="36000" tIns="36000" rIns="36000" bIns="36000" rtlCol="0">
            <a:spAutoFit/>
          </a:bodyPr>
          <a:lstStyle/>
          <a:p>
            <a:r>
              <a:rPr lang="is-IS" sz="1400" dirty="0" smtClean="0">
                <a:solidFill>
                  <a:srgbClr val="33464D"/>
                </a:solidFill>
                <a:latin typeface="Noto Sans CJK JP Medium" charset="-128"/>
                <a:ea typeface="Noto Sans CJK JP Medium" charset="-128"/>
                <a:cs typeface="Noto Sans CJK JP Medium" charset="-128"/>
              </a:rPr>
              <a:t>...</a:t>
            </a:r>
            <a:r>
              <a:rPr kumimoji="1" lang="is-IS" sz="1400" dirty="0" smtClean="0">
                <a:solidFill>
                  <a:srgbClr val="33464D"/>
                </a:solidFill>
                <a:latin typeface="Noto Sans CJK JP Medium" charset="-128"/>
                <a:ea typeface="Noto Sans CJK JP Medium" charset="-128"/>
                <a:cs typeface="Noto Sans CJK JP Medium" charset="-128"/>
              </a:rPr>
              <a:t>...</a:t>
            </a:r>
            <a:endParaRPr kumimoji="1" lang="en-US" sz="1400" dirty="0" smtClean="0">
              <a:solidFill>
                <a:srgbClr val="33464D"/>
              </a:solidFill>
              <a:latin typeface="Noto Sans CJK JP Medium" charset="-128"/>
              <a:ea typeface="Noto Sans CJK JP Medium" charset="-128"/>
              <a:cs typeface="Noto Sans CJK JP Medium" charset="-128"/>
            </a:endParaRPr>
          </a:p>
        </p:txBody>
      </p:sp>
      <p:cxnSp>
        <p:nvCxnSpPr>
          <p:cNvPr id="30" name="Straight Arrow Connector 29"/>
          <p:cNvCxnSpPr>
            <a:stCxn id="9" idx="3"/>
            <a:endCxn id="21" idx="0"/>
          </p:cNvCxnSpPr>
          <p:nvPr/>
        </p:nvCxnSpPr>
        <p:spPr bwMode="auto">
          <a:xfrm>
            <a:off x="6052240" y="2664153"/>
            <a:ext cx="1584694" cy="1659083"/>
          </a:xfrm>
          <a:prstGeom prst="straightConnector1">
            <a:avLst/>
          </a:prstGeom>
          <a:solidFill>
            <a:schemeClr val="accent1"/>
          </a:solidFill>
          <a:ln w="19050" cap="flat" cmpd="sng" algn="ctr">
            <a:solidFill>
              <a:srgbClr val="33464D"/>
            </a:solidFill>
            <a:prstDash val="sysDash"/>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3" name="Straight Arrow Connector 32"/>
          <p:cNvCxnSpPr>
            <a:stCxn id="5" idx="2"/>
            <a:endCxn id="10" idx="1"/>
          </p:cNvCxnSpPr>
          <p:nvPr/>
        </p:nvCxnSpPr>
        <p:spPr bwMode="auto">
          <a:xfrm rot="5400000" flipH="1" flipV="1">
            <a:off x="3282720" y="1055945"/>
            <a:ext cx="111336" cy="4149350"/>
          </a:xfrm>
          <a:prstGeom prst="curvedConnector4">
            <a:avLst>
              <a:gd name="adj1" fmla="val -544110"/>
              <a:gd name="adj2" fmla="val 94791"/>
            </a:avLst>
          </a:prstGeom>
          <a:solidFill>
            <a:schemeClr val="accent1"/>
          </a:solidFill>
          <a:ln w="19050" cap="flat" cmpd="sng" algn="ctr">
            <a:solidFill>
              <a:srgbClr val="33464D"/>
            </a:solidFill>
            <a:prstDash val="sysDash"/>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70" name="Straight Arrow Connector 32"/>
          <p:cNvCxnSpPr>
            <a:stCxn id="11" idx="0"/>
            <a:endCxn id="9" idx="0"/>
          </p:cNvCxnSpPr>
          <p:nvPr/>
        </p:nvCxnSpPr>
        <p:spPr bwMode="auto">
          <a:xfrm rot="5400000" flipH="1" flipV="1">
            <a:off x="4814725" y="1373633"/>
            <a:ext cx="12700" cy="1944973"/>
          </a:xfrm>
          <a:prstGeom prst="curvedConnector3">
            <a:avLst>
              <a:gd name="adj1" fmla="val 1800000"/>
            </a:avLst>
          </a:prstGeom>
          <a:solidFill>
            <a:schemeClr val="accent1"/>
          </a:solidFill>
          <a:ln w="19050" cap="flat" cmpd="sng" algn="ctr">
            <a:solidFill>
              <a:srgbClr val="33464D"/>
            </a:solidFill>
            <a:prstDash val="sysDash"/>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73" name="TextBox 72"/>
          <p:cNvSpPr txBox="1"/>
          <p:nvPr/>
        </p:nvSpPr>
        <p:spPr>
          <a:xfrm>
            <a:off x="4249832" y="1804224"/>
            <a:ext cx="1453962" cy="257369"/>
          </a:xfrm>
          <a:prstGeom prst="rect">
            <a:avLst/>
          </a:prstGeom>
          <a:noFill/>
        </p:spPr>
        <p:txBody>
          <a:bodyPr wrap="square" lIns="36000" tIns="36000" rIns="36000" bIns="36000" rtlCol="0">
            <a:spAutoFit/>
          </a:bodyPr>
          <a:lstStyle/>
          <a:p>
            <a:r>
              <a:rPr lang="ja-JP" altLang="en-US" sz="1200" dirty="0" smtClean="0">
                <a:solidFill>
                  <a:srgbClr val="33464D"/>
                </a:solidFill>
                <a:latin typeface="Noto Sans CJK JP Medium" charset="-128"/>
                <a:ea typeface="Noto Sans CJK JP Medium" charset="-128"/>
                <a:cs typeface="Noto Sans CJK JP Medium" charset="-128"/>
              </a:rPr>
              <a:t>入札リクエスト</a:t>
            </a:r>
            <a:endParaRPr kumimoji="1" lang="en-US" sz="1200" dirty="0" smtClean="0">
              <a:solidFill>
                <a:srgbClr val="33464D"/>
              </a:solidFill>
              <a:latin typeface="Noto Sans CJK JP Medium" charset="-128"/>
              <a:ea typeface="Noto Sans CJK JP Medium" charset="-128"/>
              <a:cs typeface="Noto Sans CJK JP Medium" charset="-128"/>
            </a:endParaRPr>
          </a:p>
        </p:txBody>
      </p:sp>
      <p:sp>
        <p:nvSpPr>
          <p:cNvPr id="74" name="TextBox 73"/>
          <p:cNvSpPr txBox="1"/>
          <p:nvPr/>
        </p:nvSpPr>
        <p:spPr>
          <a:xfrm>
            <a:off x="2722022" y="3785424"/>
            <a:ext cx="1453962" cy="257369"/>
          </a:xfrm>
          <a:prstGeom prst="rect">
            <a:avLst/>
          </a:prstGeom>
          <a:noFill/>
        </p:spPr>
        <p:txBody>
          <a:bodyPr wrap="square" lIns="36000" tIns="36000" rIns="36000" bIns="36000" rtlCol="0">
            <a:spAutoFit/>
          </a:bodyPr>
          <a:lstStyle/>
          <a:p>
            <a:r>
              <a:rPr lang="ja-JP" altLang="en-US" sz="1200" smtClean="0">
                <a:solidFill>
                  <a:srgbClr val="33464D"/>
                </a:solidFill>
                <a:latin typeface="Noto Sans CJK JP Medium" charset="-128"/>
                <a:ea typeface="Noto Sans CJK JP Medium" charset="-128"/>
                <a:cs typeface="Noto Sans CJK JP Medium" charset="-128"/>
              </a:rPr>
              <a:t>入札リクエスト</a:t>
            </a:r>
            <a:endParaRPr kumimoji="1" lang="en-US" sz="1200" dirty="0" smtClean="0">
              <a:solidFill>
                <a:srgbClr val="33464D"/>
              </a:solidFill>
              <a:latin typeface="Noto Sans CJK JP Medium" charset="-128"/>
              <a:ea typeface="Noto Sans CJK JP Medium" charset="-128"/>
              <a:cs typeface="Noto Sans CJK JP Medium" charset="-128"/>
            </a:endParaRPr>
          </a:p>
        </p:txBody>
      </p:sp>
      <p:sp>
        <p:nvSpPr>
          <p:cNvPr id="75" name="TextBox 74"/>
          <p:cNvSpPr txBox="1"/>
          <p:nvPr/>
        </p:nvSpPr>
        <p:spPr>
          <a:xfrm>
            <a:off x="7711001" y="4042793"/>
            <a:ext cx="2107780" cy="257369"/>
          </a:xfrm>
          <a:prstGeom prst="rect">
            <a:avLst/>
          </a:prstGeom>
          <a:noFill/>
        </p:spPr>
        <p:txBody>
          <a:bodyPr wrap="square" lIns="36000" tIns="36000" rIns="36000" bIns="36000" rtlCol="0">
            <a:spAutoFit/>
          </a:bodyPr>
          <a:lstStyle/>
          <a:p>
            <a:r>
              <a:rPr kumimoji="1" lang="ja-JP" altLang="en-US" sz="1200" smtClean="0">
                <a:solidFill>
                  <a:srgbClr val="33464D"/>
                </a:solidFill>
                <a:latin typeface="Noto Sans CJK JP Medium" charset="-128"/>
                <a:ea typeface="Noto Sans CJK JP Medium" charset="-128"/>
                <a:cs typeface="Noto Sans CJK JP Medium" charset="-128"/>
              </a:rPr>
              <a:t>タスク</a:t>
            </a:r>
            <a:r>
              <a:rPr lang="ja-JP" altLang="en-US" sz="1200" smtClean="0">
                <a:solidFill>
                  <a:srgbClr val="33464D"/>
                </a:solidFill>
                <a:latin typeface="Noto Sans CJK JP Medium" charset="-128"/>
                <a:ea typeface="Noto Sans CJK JP Medium" charset="-128"/>
                <a:cs typeface="Noto Sans CJK JP Medium" charset="-128"/>
              </a:rPr>
              <a:t>インスタンス</a:t>
            </a:r>
            <a:r>
              <a:rPr kumimoji="1" lang="ja-JP" altLang="en-US" sz="1200" smtClean="0">
                <a:solidFill>
                  <a:srgbClr val="33464D"/>
                </a:solidFill>
                <a:latin typeface="Noto Sans CJK JP Medium" charset="-128"/>
                <a:ea typeface="Noto Sans CJK JP Medium" charset="-128"/>
                <a:cs typeface="Noto Sans CJK JP Medium" charset="-128"/>
              </a:rPr>
              <a:t>グループ</a:t>
            </a:r>
            <a:endParaRPr kumimoji="1" lang="en-US" sz="1200" dirty="0" smtClean="0">
              <a:solidFill>
                <a:srgbClr val="33464D"/>
              </a:solidFill>
              <a:latin typeface="Noto Sans CJK JP Medium" charset="-128"/>
              <a:ea typeface="Noto Sans CJK JP Medium" charset="-128"/>
              <a:cs typeface="Noto Sans CJK JP Medium" charset="-128"/>
            </a:endParaRPr>
          </a:p>
        </p:txBody>
      </p:sp>
      <p:sp>
        <p:nvSpPr>
          <p:cNvPr id="76" name="TextBox 75"/>
          <p:cNvSpPr txBox="1"/>
          <p:nvPr/>
        </p:nvSpPr>
        <p:spPr>
          <a:xfrm>
            <a:off x="6734137" y="3066853"/>
            <a:ext cx="1453962" cy="257369"/>
          </a:xfrm>
          <a:prstGeom prst="rect">
            <a:avLst/>
          </a:prstGeom>
          <a:noFill/>
        </p:spPr>
        <p:txBody>
          <a:bodyPr wrap="square" lIns="36000" tIns="36000" rIns="36000" bIns="36000" rtlCol="0">
            <a:spAutoFit/>
          </a:bodyPr>
          <a:lstStyle/>
          <a:p>
            <a:r>
              <a:rPr kumimoji="1" lang="ja-JP" altLang="en-US" sz="1200" dirty="0" smtClean="0">
                <a:solidFill>
                  <a:srgbClr val="33464D"/>
                </a:solidFill>
                <a:latin typeface="Noto Sans CJK JP Medium" charset="-128"/>
                <a:ea typeface="Noto Sans CJK JP Medium" charset="-128"/>
                <a:cs typeface="Noto Sans CJK JP Medium" charset="-128"/>
              </a:rPr>
              <a:t>増減リクエスト</a:t>
            </a:r>
            <a:endParaRPr kumimoji="1" lang="en-US" sz="1200" dirty="0" smtClean="0">
              <a:solidFill>
                <a:srgbClr val="33464D"/>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16706257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スポットインスタンス自動入札の要件</a:t>
            </a:r>
            <a:endParaRPr lang="en-US" b="0" dirty="0">
              <a:latin typeface="Noto Sans CJK JP Medium" charset="-128"/>
              <a:ea typeface="Noto Sans CJK JP Medium" charset="-128"/>
              <a:cs typeface="Noto Sans CJK JP Medium" charset="-128"/>
            </a:endParaRPr>
          </a:p>
        </p:txBody>
      </p:sp>
      <p:sp>
        <p:nvSpPr>
          <p:cNvPr id="3" name="Content Placeholder 2"/>
          <p:cNvSpPr>
            <a:spLocks noGrp="1"/>
          </p:cNvSpPr>
          <p:nvPr>
            <p:ph idx="1"/>
          </p:nvPr>
        </p:nvSpPr>
        <p:spPr/>
        <p:txBody>
          <a:bodyPr/>
          <a:lstStyle/>
          <a:p>
            <a:r>
              <a:rPr lang="ja-JP" altLang="en-US" sz="2400" b="0" dirty="0" smtClean="0">
                <a:latin typeface="Noto Sans CJK JP Medium" charset="-128"/>
                <a:ea typeface="Noto Sans CJK JP Medium" charset="-128"/>
                <a:cs typeface="Noto Sans CJK JP Medium" charset="-128"/>
              </a:rPr>
              <a:t>現状のクラスタの稼働状況</a:t>
            </a:r>
            <a:endParaRPr lang="en-US" altLang="ja-JP" sz="2400" b="0" dirty="0" smtClean="0">
              <a:latin typeface="Noto Sans CJK JP Medium" charset="-128"/>
              <a:ea typeface="Noto Sans CJK JP Medium" charset="-128"/>
              <a:cs typeface="Noto Sans CJK JP Medium" charset="-128"/>
            </a:endParaRPr>
          </a:p>
          <a:p>
            <a:pPr lvl="1"/>
            <a:r>
              <a:rPr lang="ja-JP" altLang="en-US" sz="2200" b="0" dirty="0" smtClean="0">
                <a:latin typeface="Noto Sans CJK JP Medium" charset="-128"/>
                <a:ea typeface="Noto Sans CJK JP Medium" charset="-128"/>
                <a:cs typeface="Noto Sans CJK JP Medium" charset="-128"/>
              </a:rPr>
              <a:t>独自のスケジューラにより、夜間だけ台数を増やしている</a:t>
            </a:r>
            <a:endParaRPr lang="en-US" altLang="ja-JP" sz="2200" b="0" dirty="0" smtClean="0">
              <a:latin typeface="Noto Sans CJK JP Medium" charset="-128"/>
              <a:ea typeface="Noto Sans CJK JP Medium" charset="-128"/>
              <a:cs typeface="Noto Sans CJK JP Medium" charset="-128"/>
            </a:endParaRPr>
          </a:p>
        </p:txBody>
      </p:sp>
      <p:sp>
        <p:nvSpPr>
          <p:cNvPr id="20" name="コンテンツ プレースホルダー 2"/>
          <p:cNvSpPr txBox="1">
            <a:spLocks/>
          </p:cNvSpPr>
          <p:nvPr/>
        </p:nvSpPr>
        <p:spPr bwMode="auto">
          <a:xfrm>
            <a:off x="7519055" y="6038090"/>
            <a:ext cx="860147"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smtClean="0">
                <a:latin typeface="Noto Sans CJK JP Medium" charset="-128"/>
                <a:ea typeface="Noto Sans CJK JP Medium" charset="-128"/>
                <a:cs typeface="Noto Sans CJK JP Medium" charset="-128"/>
              </a:rPr>
              <a:t>時間</a:t>
            </a:r>
            <a:endParaRPr lang="en-US" altLang="ja-JP" sz="1600" b="0" dirty="0" smtClean="0">
              <a:latin typeface="Noto Sans CJK JP Medium" charset="-128"/>
              <a:ea typeface="Noto Sans CJK JP Medium" charset="-128"/>
              <a:cs typeface="Noto Sans CJK JP Medium" charset="-128"/>
            </a:endParaRPr>
          </a:p>
        </p:txBody>
      </p:sp>
      <p:sp>
        <p:nvSpPr>
          <p:cNvPr id="21" name="コンテンツ プレースホルダー 2"/>
          <p:cNvSpPr txBox="1">
            <a:spLocks/>
          </p:cNvSpPr>
          <p:nvPr/>
        </p:nvSpPr>
        <p:spPr bwMode="auto">
          <a:xfrm>
            <a:off x="630351" y="2425879"/>
            <a:ext cx="1075822"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dirty="0" smtClean="0">
                <a:latin typeface="Noto Sans CJK JP Medium" charset="-128"/>
                <a:ea typeface="Noto Sans CJK JP Medium" charset="-128"/>
                <a:cs typeface="Noto Sans CJK JP Medium" charset="-128"/>
              </a:rPr>
              <a:t>リソース</a:t>
            </a:r>
            <a:endParaRPr lang="en-US" altLang="ja-JP" sz="1600" b="0" dirty="0" smtClean="0">
              <a:latin typeface="Noto Sans CJK JP Medium" charset="-128"/>
              <a:ea typeface="Noto Sans CJK JP Medium" charset="-128"/>
              <a:cs typeface="Noto Sans CJK JP Medium" charset="-128"/>
            </a:endParaRPr>
          </a:p>
        </p:txBody>
      </p:sp>
      <p:sp>
        <p:nvSpPr>
          <p:cNvPr id="81" name="Rectangle 80"/>
          <p:cNvSpPr/>
          <p:nvPr/>
        </p:nvSpPr>
        <p:spPr bwMode="gray">
          <a:xfrm>
            <a:off x="1706173" y="4986177"/>
            <a:ext cx="1574237" cy="919315"/>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cxnSp>
        <p:nvCxnSpPr>
          <p:cNvPr id="13" name="Straight Arrow Connector 12"/>
          <p:cNvCxnSpPr/>
          <p:nvPr/>
        </p:nvCxnSpPr>
        <p:spPr bwMode="auto">
          <a:xfrm flipH="1" flipV="1">
            <a:off x="1695377" y="2359378"/>
            <a:ext cx="1" cy="3704746"/>
          </a:xfrm>
          <a:prstGeom prst="straightConnector1">
            <a:avLst/>
          </a:prstGeom>
          <a:solidFill>
            <a:schemeClr val="accent1"/>
          </a:solidFill>
          <a:ln w="9525" cap="flat" cmpd="sng" algn="ctr">
            <a:solidFill>
              <a:srgbClr val="33464D"/>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2" name="Rectangle 21"/>
          <p:cNvSpPr/>
          <p:nvPr/>
        </p:nvSpPr>
        <p:spPr bwMode="gray">
          <a:xfrm>
            <a:off x="3280410" y="2817504"/>
            <a:ext cx="1574237" cy="3094217"/>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23" name="Rectangle 22"/>
          <p:cNvSpPr/>
          <p:nvPr/>
        </p:nvSpPr>
        <p:spPr bwMode="gray">
          <a:xfrm>
            <a:off x="4853377" y="4997660"/>
            <a:ext cx="1574237" cy="919315"/>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24" name="Rectangle 23"/>
          <p:cNvSpPr/>
          <p:nvPr/>
        </p:nvSpPr>
        <p:spPr bwMode="gray">
          <a:xfrm>
            <a:off x="6426979" y="2805293"/>
            <a:ext cx="1574237" cy="3094217"/>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cxnSp>
        <p:nvCxnSpPr>
          <p:cNvPr id="10" name="Straight Arrow Connector 9"/>
          <p:cNvCxnSpPr/>
          <p:nvPr/>
        </p:nvCxnSpPr>
        <p:spPr bwMode="auto">
          <a:xfrm flipV="1">
            <a:off x="1542974" y="5882685"/>
            <a:ext cx="6968848" cy="29036"/>
          </a:xfrm>
          <a:prstGeom prst="straightConnector1">
            <a:avLst/>
          </a:prstGeom>
          <a:solidFill>
            <a:schemeClr val="accent1"/>
          </a:solidFill>
          <a:ln w="9525" cap="flat" cmpd="sng" algn="ctr">
            <a:solidFill>
              <a:srgbClr val="33464D"/>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5" name="Rectangle 24"/>
          <p:cNvSpPr/>
          <p:nvPr/>
        </p:nvSpPr>
        <p:spPr bwMode="gray">
          <a:xfrm>
            <a:off x="7989151" y="4964278"/>
            <a:ext cx="274739" cy="919315"/>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26" name="コンテンツ プレースホルダー 2"/>
          <p:cNvSpPr txBox="1">
            <a:spLocks/>
          </p:cNvSpPr>
          <p:nvPr/>
        </p:nvSpPr>
        <p:spPr bwMode="auto">
          <a:xfrm>
            <a:off x="3806758" y="2416528"/>
            <a:ext cx="611709"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rPr>
              <a:t>30</a:t>
            </a:r>
            <a:r>
              <a:rPr lang="ja-JP" altLang="en-US" sz="1600" b="0" dirty="0" smtClean="0">
                <a:solidFill>
                  <a:schemeClr val="tx2">
                    <a:lumMod val="60000"/>
                    <a:lumOff val="40000"/>
                  </a:schemeClr>
                </a:solidFill>
                <a:latin typeface="Noto Sans CJK JP Medium" charset="-128"/>
                <a:ea typeface="Noto Sans CJK JP Medium" charset="-128"/>
                <a:cs typeface="Noto Sans CJK JP Medium" charset="-128"/>
              </a:rPr>
              <a:t>台</a:t>
            </a:r>
            <a:endPar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endParaRPr>
          </a:p>
        </p:txBody>
      </p:sp>
      <p:sp>
        <p:nvSpPr>
          <p:cNvPr id="28" name="コンテンツ プレースホルダー 2"/>
          <p:cNvSpPr txBox="1">
            <a:spLocks/>
          </p:cNvSpPr>
          <p:nvPr/>
        </p:nvSpPr>
        <p:spPr bwMode="auto">
          <a:xfrm>
            <a:off x="2356814" y="4611303"/>
            <a:ext cx="611709"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rPr>
              <a:t>5</a:t>
            </a:r>
            <a:r>
              <a:rPr lang="ja-JP" altLang="en-US" sz="1600" b="0" dirty="0" smtClean="0">
                <a:solidFill>
                  <a:schemeClr val="tx2">
                    <a:lumMod val="60000"/>
                    <a:lumOff val="40000"/>
                  </a:schemeClr>
                </a:solidFill>
                <a:latin typeface="Noto Sans CJK JP Medium" charset="-128"/>
                <a:ea typeface="Noto Sans CJK JP Medium" charset="-128"/>
                <a:cs typeface="Noto Sans CJK JP Medium" charset="-128"/>
              </a:rPr>
              <a:t>台</a:t>
            </a:r>
            <a:endPar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endParaRPr>
          </a:p>
        </p:txBody>
      </p:sp>
      <p:sp>
        <p:nvSpPr>
          <p:cNvPr id="29" name="コンテンツ プレースホルダー 2"/>
          <p:cNvSpPr txBox="1">
            <a:spLocks/>
          </p:cNvSpPr>
          <p:nvPr/>
        </p:nvSpPr>
        <p:spPr bwMode="auto">
          <a:xfrm>
            <a:off x="2292036" y="6038088"/>
            <a:ext cx="611709"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dirty="0" smtClean="0">
                <a:solidFill>
                  <a:schemeClr val="tx2">
                    <a:lumMod val="60000"/>
                    <a:lumOff val="40000"/>
                  </a:schemeClr>
                </a:solidFill>
                <a:latin typeface="Noto Sans CJK JP Medium" charset="-128"/>
                <a:ea typeface="Noto Sans CJK JP Medium" charset="-128"/>
                <a:cs typeface="Noto Sans CJK JP Medium" charset="-128"/>
              </a:rPr>
              <a:t>日中</a:t>
            </a:r>
            <a:endPar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endParaRPr>
          </a:p>
        </p:txBody>
      </p:sp>
      <p:sp>
        <p:nvSpPr>
          <p:cNvPr id="30" name="コンテンツ プレースホルダー 2"/>
          <p:cNvSpPr txBox="1">
            <a:spLocks/>
          </p:cNvSpPr>
          <p:nvPr/>
        </p:nvSpPr>
        <p:spPr bwMode="auto">
          <a:xfrm>
            <a:off x="3799010" y="6038089"/>
            <a:ext cx="611709"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dirty="0" smtClean="0">
                <a:solidFill>
                  <a:schemeClr val="tx2">
                    <a:lumMod val="60000"/>
                    <a:lumOff val="40000"/>
                  </a:schemeClr>
                </a:solidFill>
                <a:latin typeface="Noto Sans CJK JP Medium" charset="-128"/>
                <a:ea typeface="Noto Sans CJK JP Medium" charset="-128"/>
                <a:cs typeface="Noto Sans CJK JP Medium" charset="-128"/>
              </a:rPr>
              <a:t>夜間</a:t>
            </a:r>
            <a:endPar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endParaRPr>
          </a:p>
        </p:txBody>
      </p:sp>
      <p:sp>
        <p:nvSpPr>
          <p:cNvPr id="17" name="Rectangle 80"/>
          <p:cNvSpPr/>
          <p:nvPr/>
        </p:nvSpPr>
        <p:spPr bwMode="gray">
          <a:xfrm>
            <a:off x="7072983" y="1809485"/>
            <a:ext cx="1438839" cy="349780"/>
          </a:xfrm>
          <a:prstGeom prst="rect">
            <a:avLst/>
          </a:prstGeom>
          <a:solidFill>
            <a:schemeClr val="tx2">
              <a:lumMod val="40000"/>
              <a:lumOff val="60000"/>
            </a:schemeClr>
          </a:solidFill>
          <a:ln w="9525" cmpd="sng">
            <a:noFill/>
            <a:miter lim="800000"/>
            <a:headEnd/>
            <a:tailEnd/>
          </a:ln>
        </p:spPr>
        <p:txBody>
          <a:bodyPr rtlCol="0" anchor="ctr"/>
          <a:lstStyle/>
          <a:p>
            <a:pPr algn="ctr"/>
            <a:r>
              <a:rPr lang="ja-JP" altLang="en-US" sz="1400" dirty="0" smtClean="0">
                <a:solidFill>
                  <a:schemeClr val="bg1"/>
                </a:solidFill>
                <a:latin typeface="Noto Sans CJK JP Medium" charset="-128"/>
                <a:ea typeface="Noto Sans CJK JP Medium" charset="-128"/>
                <a:cs typeface="Noto Sans CJK JP Medium" charset="-128"/>
              </a:rPr>
              <a:t>オンデマンド</a:t>
            </a:r>
            <a:endParaRPr lang="en-US" sz="1400" dirty="0" smtClean="0">
              <a:solidFill>
                <a:schemeClr val="bg1"/>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52939646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スポットインスタンス自動入札の要件</a:t>
            </a:r>
            <a:endParaRPr lang="en-US" b="0" dirty="0">
              <a:latin typeface="Noto Sans CJK JP Medium" charset="-128"/>
              <a:ea typeface="Noto Sans CJK JP Medium" charset="-128"/>
              <a:cs typeface="Noto Sans CJK JP Medium" charset="-128"/>
            </a:endParaRPr>
          </a:p>
        </p:txBody>
      </p:sp>
      <p:sp>
        <p:nvSpPr>
          <p:cNvPr id="3" name="Content Placeholder 2"/>
          <p:cNvSpPr>
            <a:spLocks noGrp="1"/>
          </p:cNvSpPr>
          <p:nvPr>
            <p:ph idx="1"/>
          </p:nvPr>
        </p:nvSpPr>
        <p:spPr/>
        <p:txBody>
          <a:bodyPr/>
          <a:lstStyle/>
          <a:p>
            <a:r>
              <a:rPr lang="ja-JP" altLang="en-US" sz="2400" b="0" dirty="0" smtClean="0">
                <a:latin typeface="Noto Sans CJK JP Medium" charset="-128"/>
                <a:ea typeface="Noto Sans CJK JP Medium" charset="-128"/>
                <a:cs typeface="Noto Sans CJK JP Medium" charset="-128"/>
              </a:rPr>
              <a:t>実現したいクラスタの稼働状況</a:t>
            </a:r>
            <a:endParaRPr lang="en-US" altLang="ja-JP" sz="2400" b="0" dirty="0" smtClean="0">
              <a:latin typeface="Noto Sans CJK JP Medium" charset="-128"/>
              <a:ea typeface="Noto Sans CJK JP Medium" charset="-128"/>
              <a:cs typeface="Noto Sans CJK JP Medium" charset="-128"/>
            </a:endParaRPr>
          </a:p>
          <a:p>
            <a:pPr lvl="1"/>
            <a:endParaRPr lang="en-US" altLang="ja-JP" sz="2200" b="0" dirty="0" smtClean="0">
              <a:latin typeface="Noto Sans CJK JP Medium" charset="-128"/>
              <a:ea typeface="Noto Sans CJK JP Medium" charset="-128"/>
              <a:cs typeface="Noto Sans CJK JP Medium" charset="-128"/>
            </a:endParaRPr>
          </a:p>
        </p:txBody>
      </p:sp>
      <p:sp>
        <p:nvSpPr>
          <p:cNvPr id="20" name="コンテンツ プレースホルダー 2"/>
          <p:cNvSpPr txBox="1">
            <a:spLocks/>
          </p:cNvSpPr>
          <p:nvPr/>
        </p:nvSpPr>
        <p:spPr bwMode="auto">
          <a:xfrm>
            <a:off x="7519055" y="6038090"/>
            <a:ext cx="860147"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smtClean="0">
                <a:latin typeface="Noto Sans CJK JP Medium" charset="-128"/>
                <a:ea typeface="Noto Sans CJK JP Medium" charset="-128"/>
                <a:cs typeface="Noto Sans CJK JP Medium" charset="-128"/>
              </a:rPr>
              <a:t>時間</a:t>
            </a:r>
            <a:endParaRPr lang="en-US" altLang="ja-JP" sz="1600" b="0" dirty="0" smtClean="0">
              <a:latin typeface="Noto Sans CJK JP Medium" charset="-128"/>
              <a:ea typeface="Noto Sans CJK JP Medium" charset="-128"/>
              <a:cs typeface="Noto Sans CJK JP Medium" charset="-128"/>
            </a:endParaRPr>
          </a:p>
        </p:txBody>
      </p:sp>
      <p:sp>
        <p:nvSpPr>
          <p:cNvPr id="21" name="コンテンツ プレースホルダー 2"/>
          <p:cNvSpPr txBox="1">
            <a:spLocks/>
          </p:cNvSpPr>
          <p:nvPr/>
        </p:nvSpPr>
        <p:spPr bwMode="auto">
          <a:xfrm>
            <a:off x="630351" y="2425879"/>
            <a:ext cx="1075822"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dirty="0" smtClean="0">
                <a:latin typeface="Noto Sans CJK JP Medium" charset="-128"/>
                <a:ea typeface="Noto Sans CJK JP Medium" charset="-128"/>
                <a:cs typeface="Noto Sans CJK JP Medium" charset="-128"/>
              </a:rPr>
              <a:t>リソース</a:t>
            </a:r>
            <a:endParaRPr lang="en-US" altLang="ja-JP" sz="1600" b="0" dirty="0" smtClean="0">
              <a:latin typeface="Noto Sans CJK JP Medium" charset="-128"/>
              <a:ea typeface="Noto Sans CJK JP Medium" charset="-128"/>
              <a:cs typeface="Noto Sans CJK JP Medium" charset="-128"/>
            </a:endParaRPr>
          </a:p>
        </p:txBody>
      </p:sp>
      <p:sp>
        <p:nvSpPr>
          <p:cNvPr id="81" name="Rectangle 80"/>
          <p:cNvSpPr/>
          <p:nvPr/>
        </p:nvSpPr>
        <p:spPr bwMode="gray">
          <a:xfrm>
            <a:off x="1706173" y="4986177"/>
            <a:ext cx="1574237" cy="919315"/>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cxnSp>
        <p:nvCxnSpPr>
          <p:cNvPr id="13" name="Straight Arrow Connector 12"/>
          <p:cNvCxnSpPr/>
          <p:nvPr/>
        </p:nvCxnSpPr>
        <p:spPr bwMode="auto">
          <a:xfrm flipH="1" flipV="1">
            <a:off x="1695377" y="2359378"/>
            <a:ext cx="1" cy="3704746"/>
          </a:xfrm>
          <a:prstGeom prst="straightConnector1">
            <a:avLst/>
          </a:prstGeom>
          <a:solidFill>
            <a:schemeClr val="accent1"/>
          </a:solidFill>
          <a:ln w="9525" cap="flat" cmpd="sng" algn="ctr">
            <a:solidFill>
              <a:srgbClr val="33464D"/>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2" name="Rectangle 21"/>
          <p:cNvSpPr/>
          <p:nvPr/>
        </p:nvSpPr>
        <p:spPr bwMode="gray">
          <a:xfrm>
            <a:off x="3280410" y="2817504"/>
            <a:ext cx="1574237" cy="3094217"/>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23" name="Rectangle 22"/>
          <p:cNvSpPr/>
          <p:nvPr/>
        </p:nvSpPr>
        <p:spPr bwMode="gray">
          <a:xfrm>
            <a:off x="4853377" y="4997660"/>
            <a:ext cx="1574237" cy="919315"/>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24" name="Rectangle 23"/>
          <p:cNvSpPr/>
          <p:nvPr/>
        </p:nvSpPr>
        <p:spPr bwMode="gray">
          <a:xfrm>
            <a:off x="6426979" y="2983230"/>
            <a:ext cx="1574237" cy="2916280"/>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cxnSp>
        <p:nvCxnSpPr>
          <p:cNvPr id="10" name="Straight Arrow Connector 9"/>
          <p:cNvCxnSpPr/>
          <p:nvPr/>
        </p:nvCxnSpPr>
        <p:spPr bwMode="auto">
          <a:xfrm flipV="1">
            <a:off x="1542974" y="5882685"/>
            <a:ext cx="6968848" cy="29036"/>
          </a:xfrm>
          <a:prstGeom prst="straightConnector1">
            <a:avLst/>
          </a:prstGeom>
          <a:solidFill>
            <a:schemeClr val="accent1"/>
          </a:solidFill>
          <a:ln w="9525" cap="flat" cmpd="sng" algn="ctr">
            <a:solidFill>
              <a:srgbClr val="33464D"/>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5" name="Rectangle 24"/>
          <p:cNvSpPr/>
          <p:nvPr/>
        </p:nvSpPr>
        <p:spPr bwMode="gray">
          <a:xfrm>
            <a:off x="7989151" y="4964278"/>
            <a:ext cx="274739" cy="919315"/>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26" name="コンテンツ プレースホルダー 2"/>
          <p:cNvSpPr txBox="1">
            <a:spLocks/>
          </p:cNvSpPr>
          <p:nvPr/>
        </p:nvSpPr>
        <p:spPr bwMode="auto">
          <a:xfrm>
            <a:off x="3806758" y="2416528"/>
            <a:ext cx="611709"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endParaRPr lang="en-US" altLang="ja-JP" sz="1600" b="0" dirty="0" smtClean="0">
              <a:solidFill>
                <a:schemeClr val="accent6"/>
              </a:solidFill>
              <a:latin typeface="Noto Sans CJK JP Medium" charset="-128"/>
              <a:ea typeface="Noto Sans CJK JP Medium" charset="-128"/>
              <a:cs typeface="Noto Sans CJK JP Medium" charset="-128"/>
            </a:endParaRPr>
          </a:p>
        </p:txBody>
      </p:sp>
      <p:sp>
        <p:nvSpPr>
          <p:cNvPr id="28" name="コンテンツ プレースホルダー 2"/>
          <p:cNvSpPr txBox="1">
            <a:spLocks/>
          </p:cNvSpPr>
          <p:nvPr/>
        </p:nvSpPr>
        <p:spPr bwMode="auto">
          <a:xfrm>
            <a:off x="2356814" y="4611303"/>
            <a:ext cx="611709"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rPr>
              <a:t>5</a:t>
            </a:r>
            <a:r>
              <a:rPr lang="ja-JP" altLang="en-US" sz="1600" b="0" dirty="0" smtClean="0">
                <a:solidFill>
                  <a:schemeClr val="tx2">
                    <a:lumMod val="60000"/>
                    <a:lumOff val="40000"/>
                  </a:schemeClr>
                </a:solidFill>
                <a:latin typeface="Noto Sans CJK JP Medium" charset="-128"/>
                <a:ea typeface="Noto Sans CJK JP Medium" charset="-128"/>
                <a:cs typeface="Noto Sans CJK JP Medium" charset="-128"/>
              </a:rPr>
              <a:t>台</a:t>
            </a:r>
            <a:endPar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endParaRPr>
          </a:p>
        </p:txBody>
      </p:sp>
      <p:sp>
        <p:nvSpPr>
          <p:cNvPr id="29" name="コンテンツ プレースホルダー 2"/>
          <p:cNvSpPr txBox="1">
            <a:spLocks/>
          </p:cNvSpPr>
          <p:nvPr/>
        </p:nvSpPr>
        <p:spPr bwMode="auto">
          <a:xfrm>
            <a:off x="2292036" y="6038088"/>
            <a:ext cx="611709"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dirty="0" smtClean="0">
                <a:solidFill>
                  <a:schemeClr val="tx2">
                    <a:lumMod val="60000"/>
                    <a:lumOff val="40000"/>
                  </a:schemeClr>
                </a:solidFill>
                <a:latin typeface="Noto Sans CJK JP Medium" charset="-128"/>
                <a:ea typeface="Noto Sans CJK JP Medium" charset="-128"/>
                <a:cs typeface="Noto Sans CJK JP Medium" charset="-128"/>
              </a:rPr>
              <a:t>日中</a:t>
            </a:r>
            <a:endPar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endParaRPr>
          </a:p>
        </p:txBody>
      </p:sp>
      <p:sp>
        <p:nvSpPr>
          <p:cNvPr id="30" name="コンテンツ プレースホルダー 2"/>
          <p:cNvSpPr txBox="1">
            <a:spLocks/>
          </p:cNvSpPr>
          <p:nvPr/>
        </p:nvSpPr>
        <p:spPr bwMode="auto">
          <a:xfrm>
            <a:off x="3799010" y="6038089"/>
            <a:ext cx="611709"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dirty="0" smtClean="0">
                <a:solidFill>
                  <a:schemeClr val="accent6"/>
                </a:solidFill>
                <a:latin typeface="Noto Sans CJK JP Medium" charset="-128"/>
                <a:ea typeface="Noto Sans CJK JP Medium" charset="-128"/>
                <a:cs typeface="Noto Sans CJK JP Medium" charset="-128"/>
              </a:rPr>
              <a:t>夜間</a:t>
            </a:r>
            <a:endParaRPr lang="en-US" altLang="ja-JP" sz="1600" b="0" dirty="0" smtClean="0">
              <a:solidFill>
                <a:schemeClr val="accent6"/>
              </a:solidFill>
              <a:latin typeface="Noto Sans CJK JP Medium" charset="-128"/>
              <a:ea typeface="Noto Sans CJK JP Medium" charset="-128"/>
              <a:cs typeface="Noto Sans CJK JP Medium" charset="-128"/>
            </a:endParaRPr>
          </a:p>
        </p:txBody>
      </p:sp>
      <p:sp>
        <p:nvSpPr>
          <p:cNvPr id="17" name="Rectangle 16"/>
          <p:cNvSpPr/>
          <p:nvPr/>
        </p:nvSpPr>
        <p:spPr bwMode="gray">
          <a:xfrm>
            <a:off x="6426978" y="2812236"/>
            <a:ext cx="1574237" cy="1361655"/>
          </a:xfrm>
          <a:prstGeom prst="rect">
            <a:avLst/>
          </a:prstGeom>
          <a:solidFill>
            <a:schemeClr val="accent6"/>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18" name="Rectangle 17"/>
          <p:cNvSpPr/>
          <p:nvPr/>
        </p:nvSpPr>
        <p:spPr bwMode="gray">
          <a:xfrm>
            <a:off x="3279139" y="2812236"/>
            <a:ext cx="1574237" cy="1361655"/>
          </a:xfrm>
          <a:prstGeom prst="rect">
            <a:avLst/>
          </a:prstGeom>
          <a:solidFill>
            <a:schemeClr val="accent6"/>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19" name="コンテンツ プレースホルダー 2"/>
          <p:cNvSpPr txBox="1">
            <a:spLocks/>
          </p:cNvSpPr>
          <p:nvPr/>
        </p:nvSpPr>
        <p:spPr bwMode="auto">
          <a:xfrm>
            <a:off x="3455036" y="2425879"/>
            <a:ext cx="1222442"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rPr>
              <a:t>15</a:t>
            </a:r>
            <a:r>
              <a:rPr lang="ja-JP" altLang="en-US" sz="1600" b="0" dirty="0" smtClean="0">
                <a:solidFill>
                  <a:schemeClr val="tx2">
                    <a:lumMod val="60000"/>
                    <a:lumOff val="40000"/>
                  </a:schemeClr>
                </a:solidFill>
                <a:latin typeface="Noto Sans CJK JP Medium" charset="-128"/>
                <a:ea typeface="Noto Sans CJK JP Medium" charset="-128"/>
                <a:cs typeface="Noto Sans CJK JP Medium" charset="-128"/>
              </a:rPr>
              <a:t>台</a:t>
            </a:r>
            <a:r>
              <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rPr>
              <a:t> </a:t>
            </a:r>
            <a:r>
              <a:rPr lang="en-US" altLang="ja-JP" sz="1600" b="0" dirty="0" smtClean="0">
                <a:solidFill>
                  <a:schemeClr val="accent6"/>
                </a:solidFill>
                <a:latin typeface="Noto Sans CJK JP Medium" charset="-128"/>
                <a:ea typeface="Noto Sans CJK JP Medium" charset="-128"/>
                <a:cs typeface="Noto Sans CJK JP Medium" charset="-128"/>
              </a:rPr>
              <a:t>+ 15</a:t>
            </a:r>
            <a:r>
              <a:rPr lang="ja-JP" altLang="en-US" sz="1600" b="0" dirty="0" smtClean="0">
                <a:solidFill>
                  <a:schemeClr val="accent6"/>
                </a:solidFill>
                <a:latin typeface="Noto Sans CJK JP Medium" charset="-128"/>
                <a:ea typeface="Noto Sans CJK JP Medium" charset="-128"/>
                <a:cs typeface="Noto Sans CJK JP Medium" charset="-128"/>
              </a:rPr>
              <a:t>台</a:t>
            </a:r>
            <a:endParaRPr lang="en-US" altLang="ja-JP" sz="1600" b="0" dirty="0" smtClean="0">
              <a:solidFill>
                <a:schemeClr val="accent6"/>
              </a:solidFill>
              <a:latin typeface="Noto Sans CJK JP Medium" charset="-128"/>
              <a:ea typeface="Noto Sans CJK JP Medium" charset="-128"/>
              <a:cs typeface="Noto Sans CJK JP Medium" charset="-128"/>
            </a:endParaRPr>
          </a:p>
        </p:txBody>
      </p:sp>
      <p:sp>
        <p:nvSpPr>
          <p:cNvPr id="34" name="Rectangle 80"/>
          <p:cNvSpPr/>
          <p:nvPr/>
        </p:nvSpPr>
        <p:spPr bwMode="gray">
          <a:xfrm>
            <a:off x="7072983" y="1471932"/>
            <a:ext cx="1438839" cy="349780"/>
          </a:xfrm>
          <a:prstGeom prst="rect">
            <a:avLst/>
          </a:prstGeom>
          <a:solidFill>
            <a:schemeClr val="tx2">
              <a:lumMod val="40000"/>
              <a:lumOff val="60000"/>
            </a:schemeClr>
          </a:solidFill>
          <a:ln w="9525" cmpd="sng">
            <a:noFill/>
            <a:miter lim="800000"/>
            <a:headEnd/>
            <a:tailEnd/>
          </a:ln>
        </p:spPr>
        <p:txBody>
          <a:bodyPr rtlCol="0" anchor="ctr"/>
          <a:lstStyle/>
          <a:p>
            <a:pPr algn="ctr"/>
            <a:r>
              <a:rPr lang="ja-JP" altLang="en-US" sz="1400" dirty="0" smtClean="0">
                <a:solidFill>
                  <a:schemeClr val="bg1"/>
                </a:solidFill>
                <a:latin typeface="Noto Sans CJK JP Medium" charset="-128"/>
                <a:ea typeface="Noto Sans CJK JP Medium" charset="-128"/>
                <a:cs typeface="Noto Sans CJK JP Medium" charset="-128"/>
              </a:rPr>
              <a:t>オンデマンド</a:t>
            </a:r>
            <a:endParaRPr lang="en-US" sz="1400" dirty="0" smtClean="0">
              <a:solidFill>
                <a:schemeClr val="bg1"/>
              </a:solidFill>
              <a:latin typeface="Noto Sans CJK JP Medium" charset="-128"/>
              <a:ea typeface="Noto Sans CJK JP Medium" charset="-128"/>
              <a:cs typeface="Noto Sans CJK JP Medium" charset="-128"/>
            </a:endParaRPr>
          </a:p>
        </p:txBody>
      </p:sp>
      <p:sp>
        <p:nvSpPr>
          <p:cNvPr id="35" name="Rectangle 80"/>
          <p:cNvSpPr/>
          <p:nvPr/>
        </p:nvSpPr>
        <p:spPr bwMode="gray">
          <a:xfrm>
            <a:off x="7072983" y="1956325"/>
            <a:ext cx="1438839" cy="349780"/>
          </a:xfrm>
          <a:prstGeom prst="rect">
            <a:avLst/>
          </a:prstGeom>
          <a:solidFill>
            <a:schemeClr val="accent6"/>
          </a:solidFill>
          <a:ln w="9525" cmpd="sng">
            <a:noFill/>
            <a:miter lim="800000"/>
            <a:headEnd/>
            <a:tailEnd/>
          </a:ln>
        </p:spPr>
        <p:txBody>
          <a:bodyPr rtlCol="0" anchor="ctr"/>
          <a:lstStyle/>
          <a:p>
            <a:pPr algn="ctr"/>
            <a:r>
              <a:rPr lang="ja-JP" altLang="en-US" sz="1400" dirty="0" smtClean="0">
                <a:solidFill>
                  <a:schemeClr val="bg1"/>
                </a:solidFill>
                <a:latin typeface="Noto Sans CJK JP Medium" charset="-128"/>
                <a:ea typeface="Noto Sans CJK JP Medium" charset="-128"/>
                <a:cs typeface="Noto Sans CJK JP Medium" charset="-128"/>
              </a:rPr>
              <a:t>スポット</a:t>
            </a:r>
            <a:endParaRPr lang="en-US" sz="1400" dirty="0" smtClean="0">
              <a:solidFill>
                <a:schemeClr val="bg1"/>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1244219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スポットインスタンス自動入札の要件</a:t>
            </a:r>
            <a:endParaRPr lang="en-US" b="0" dirty="0">
              <a:latin typeface="Noto Sans CJK JP Medium" charset="-128"/>
              <a:ea typeface="Noto Sans CJK JP Medium" charset="-128"/>
              <a:cs typeface="Noto Sans CJK JP Medium" charset="-128"/>
            </a:endParaRPr>
          </a:p>
        </p:txBody>
      </p:sp>
      <p:sp>
        <p:nvSpPr>
          <p:cNvPr id="3" name="Content Placeholder 2"/>
          <p:cNvSpPr>
            <a:spLocks noGrp="1"/>
          </p:cNvSpPr>
          <p:nvPr>
            <p:ph idx="1"/>
          </p:nvPr>
        </p:nvSpPr>
        <p:spPr/>
        <p:txBody>
          <a:bodyPr/>
          <a:lstStyle/>
          <a:p>
            <a:r>
              <a:rPr lang="ja-JP" altLang="en-US" sz="2400" b="0" dirty="0" smtClean="0">
                <a:latin typeface="Noto Sans CJK JP Medium" charset="-128"/>
                <a:ea typeface="Noto Sans CJK JP Medium" charset="-128"/>
                <a:cs typeface="Noto Sans CJK JP Medium" charset="-128"/>
              </a:rPr>
              <a:t>もしスポットインスタンスが入札できなかったら</a:t>
            </a:r>
            <a:r>
              <a:rPr lang="is-IS" altLang="ja-JP" sz="2400" b="0" dirty="0" smtClean="0">
                <a:latin typeface="Noto Sans CJK JP Medium" charset="-128"/>
                <a:ea typeface="Noto Sans CJK JP Medium" charset="-128"/>
                <a:cs typeface="Noto Sans CJK JP Medium" charset="-128"/>
              </a:rPr>
              <a:t>…</a:t>
            </a:r>
            <a:endParaRPr lang="en-US" altLang="ja-JP" sz="2400" b="0" dirty="0" smtClean="0">
              <a:latin typeface="Noto Sans CJK JP Medium" charset="-128"/>
              <a:ea typeface="Noto Sans CJK JP Medium" charset="-128"/>
              <a:cs typeface="Noto Sans CJK JP Medium" charset="-128"/>
            </a:endParaRPr>
          </a:p>
        </p:txBody>
      </p:sp>
      <p:sp>
        <p:nvSpPr>
          <p:cNvPr id="20" name="コンテンツ プレースホルダー 2"/>
          <p:cNvSpPr txBox="1">
            <a:spLocks/>
          </p:cNvSpPr>
          <p:nvPr/>
        </p:nvSpPr>
        <p:spPr bwMode="auto">
          <a:xfrm>
            <a:off x="7519055" y="6038090"/>
            <a:ext cx="860147"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smtClean="0">
                <a:latin typeface="Noto Sans CJK JP Medium" charset="-128"/>
                <a:ea typeface="Noto Sans CJK JP Medium" charset="-128"/>
                <a:cs typeface="Noto Sans CJK JP Medium" charset="-128"/>
              </a:rPr>
              <a:t>時間</a:t>
            </a:r>
            <a:endParaRPr lang="en-US" altLang="ja-JP" sz="1600" b="0" dirty="0" smtClean="0">
              <a:latin typeface="Noto Sans CJK JP Medium" charset="-128"/>
              <a:ea typeface="Noto Sans CJK JP Medium" charset="-128"/>
              <a:cs typeface="Noto Sans CJK JP Medium" charset="-128"/>
            </a:endParaRPr>
          </a:p>
        </p:txBody>
      </p:sp>
      <p:sp>
        <p:nvSpPr>
          <p:cNvPr id="21" name="コンテンツ プレースホルダー 2"/>
          <p:cNvSpPr txBox="1">
            <a:spLocks/>
          </p:cNvSpPr>
          <p:nvPr/>
        </p:nvSpPr>
        <p:spPr bwMode="auto">
          <a:xfrm>
            <a:off x="630351" y="2425879"/>
            <a:ext cx="1075822"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dirty="0" smtClean="0">
                <a:latin typeface="Noto Sans CJK JP Medium" charset="-128"/>
                <a:ea typeface="Noto Sans CJK JP Medium" charset="-128"/>
                <a:cs typeface="Noto Sans CJK JP Medium" charset="-128"/>
              </a:rPr>
              <a:t>リソース</a:t>
            </a:r>
            <a:endParaRPr lang="en-US" altLang="ja-JP" sz="1600" b="0" dirty="0" smtClean="0">
              <a:latin typeface="Noto Sans CJK JP Medium" charset="-128"/>
              <a:ea typeface="Noto Sans CJK JP Medium" charset="-128"/>
              <a:cs typeface="Noto Sans CJK JP Medium" charset="-128"/>
            </a:endParaRPr>
          </a:p>
        </p:txBody>
      </p:sp>
      <p:sp>
        <p:nvSpPr>
          <p:cNvPr id="81" name="Rectangle 80"/>
          <p:cNvSpPr/>
          <p:nvPr/>
        </p:nvSpPr>
        <p:spPr bwMode="gray">
          <a:xfrm>
            <a:off x="1706173" y="4986177"/>
            <a:ext cx="1574237" cy="919315"/>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cxnSp>
        <p:nvCxnSpPr>
          <p:cNvPr id="13" name="Straight Arrow Connector 12"/>
          <p:cNvCxnSpPr/>
          <p:nvPr/>
        </p:nvCxnSpPr>
        <p:spPr bwMode="auto">
          <a:xfrm flipH="1" flipV="1">
            <a:off x="1695377" y="2359378"/>
            <a:ext cx="1" cy="3704746"/>
          </a:xfrm>
          <a:prstGeom prst="straightConnector1">
            <a:avLst/>
          </a:prstGeom>
          <a:solidFill>
            <a:schemeClr val="accent1"/>
          </a:solidFill>
          <a:ln w="9525" cap="flat" cmpd="sng" algn="ctr">
            <a:solidFill>
              <a:srgbClr val="33464D"/>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2" name="Rectangle 21"/>
          <p:cNvSpPr/>
          <p:nvPr/>
        </p:nvSpPr>
        <p:spPr bwMode="gray">
          <a:xfrm>
            <a:off x="3280410" y="2817504"/>
            <a:ext cx="1574237" cy="3094217"/>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23" name="Rectangle 22"/>
          <p:cNvSpPr/>
          <p:nvPr/>
        </p:nvSpPr>
        <p:spPr bwMode="gray">
          <a:xfrm>
            <a:off x="4853377" y="4997660"/>
            <a:ext cx="1574237" cy="919315"/>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24" name="Rectangle 23"/>
          <p:cNvSpPr/>
          <p:nvPr/>
        </p:nvSpPr>
        <p:spPr bwMode="gray">
          <a:xfrm>
            <a:off x="6426979" y="2805293"/>
            <a:ext cx="1574237" cy="3094217"/>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cxnSp>
        <p:nvCxnSpPr>
          <p:cNvPr id="10" name="Straight Arrow Connector 9"/>
          <p:cNvCxnSpPr/>
          <p:nvPr/>
        </p:nvCxnSpPr>
        <p:spPr bwMode="auto">
          <a:xfrm flipV="1">
            <a:off x="1542974" y="5882685"/>
            <a:ext cx="6968848" cy="29036"/>
          </a:xfrm>
          <a:prstGeom prst="straightConnector1">
            <a:avLst/>
          </a:prstGeom>
          <a:solidFill>
            <a:schemeClr val="accent1"/>
          </a:solidFill>
          <a:ln w="9525" cap="flat" cmpd="sng" algn="ctr">
            <a:solidFill>
              <a:srgbClr val="33464D"/>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5" name="Rectangle 24"/>
          <p:cNvSpPr/>
          <p:nvPr/>
        </p:nvSpPr>
        <p:spPr bwMode="gray">
          <a:xfrm>
            <a:off x="7989151" y="4964278"/>
            <a:ext cx="274739" cy="919315"/>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26" name="コンテンツ プレースホルダー 2"/>
          <p:cNvSpPr txBox="1">
            <a:spLocks/>
          </p:cNvSpPr>
          <p:nvPr/>
        </p:nvSpPr>
        <p:spPr bwMode="auto">
          <a:xfrm>
            <a:off x="3806758" y="2416528"/>
            <a:ext cx="611709"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rPr>
              <a:t>30</a:t>
            </a:r>
            <a:r>
              <a:rPr lang="ja-JP" altLang="en-US" sz="1600" b="0" dirty="0" smtClean="0">
                <a:solidFill>
                  <a:schemeClr val="tx2">
                    <a:lumMod val="60000"/>
                    <a:lumOff val="40000"/>
                  </a:schemeClr>
                </a:solidFill>
                <a:latin typeface="Noto Sans CJK JP Medium" charset="-128"/>
                <a:ea typeface="Noto Sans CJK JP Medium" charset="-128"/>
                <a:cs typeface="Noto Sans CJK JP Medium" charset="-128"/>
              </a:rPr>
              <a:t>台</a:t>
            </a:r>
            <a:endPar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endParaRPr>
          </a:p>
        </p:txBody>
      </p:sp>
      <p:sp>
        <p:nvSpPr>
          <p:cNvPr id="28" name="コンテンツ プレースホルダー 2"/>
          <p:cNvSpPr txBox="1">
            <a:spLocks/>
          </p:cNvSpPr>
          <p:nvPr/>
        </p:nvSpPr>
        <p:spPr bwMode="auto">
          <a:xfrm>
            <a:off x="2356814" y="4611303"/>
            <a:ext cx="611709"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rPr>
              <a:t>5</a:t>
            </a:r>
            <a:r>
              <a:rPr lang="ja-JP" altLang="en-US" sz="1600" b="0" dirty="0" smtClean="0">
                <a:solidFill>
                  <a:schemeClr val="tx2">
                    <a:lumMod val="60000"/>
                    <a:lumOff val="40000"/>
                  </a:schemeClr>
                </a:solidFill>
                <a:latin typeface="Noto Sans CJK JP Medium" charset="-128"/>
                <a:ea typeface="Noto Sans CJK JP Medium" charset="-128"/>
                <a:cs typeface="Noto Sans CJK JP Medium" charset="-128"/>
              </a:rPr>
              <a:t>台</a:t>
            </a:r>
            <a:endPar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endParaRPr>
          </a:p>
        </p:txBody>
      </p:sp>
      <p:sp>
        <p:nvSpPr>
          <p:cNvPr id="29" name="コンテンツ プレースホルダー 2"/>
          <p:cNvSpPr txBox="1">
            <a:spLocks/>
          </p:cNvSpPr>
          <p:nvPr/>
        </p:nvSpPr>
        <p:spPr bwMode="auto">
          <a:xfrm>
            <a:off x="2292036" y="6038088"/>
            <a:ext cx="611709"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dirty="0" smtClean="0">
                <a:solidFill>
                  <a:schemeClr val="tx2">
                    <a:lumMod val="60000"/>
                    <a:lumOff val="40000"/>
                  </a:schemeClr>
                </a:solidFill>
                <a:latin typeface="Noto Sans CJK JP Medium" charset="-128"/>
                <a:ea typeface="Noto Sans CJK JP Medium" charset="-128"/>
                <a:cs typeface="Noto Sans CJK JP Medium" charset="-128"/>
              </a:rPr>
              <a:t>日中</a:t>
            </a:r>
            <a:endPar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endParaRPr>
          </a:p>
        </p:txBody>
      </p:sp>
      <p:sp>
        <p:nvSpPr>
          <p:cNvPr id="30" name="コンテンツ プレースホルダー 2"/>
          <p:cNvSpPr txBox="1">
            <a:spLocks/>
          </p:cNvSpPr>
          <p:nvPr/>
        </p:nvSpPr>
        <p:spPr bwMode="auto">
          <a:xfrm>
            <a:off x="3799010" y="6038089"/>
            <a:ext cx="611709"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dirty="0" smtClean="0">
                <a:solidFill>
                  <a:schemeClr val="tx2">
                    <a:lumMod val="60000"/>
                    <a:lumOff val="40000"/>
                  </a:schemeClr>
                </a:solidFill>
                <a:latin typeface="Noto Sans CJK JP Medium" charset="-128"/>
                <a:ea typeface="Noto Sans CJK JP Medium" charset="-128"/>
                <a:cs typeface="Noto Sans CJK JP Medium" charset="-128"/>
              </a:rPr>
              <a:t>夜間</a:t>
            </a:r>
            <a:endPar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endParaRPr>
          </a:p>
        </p:txBody>
      </p:sp>
      <p:sp>
        <p:nvSpPr>
          <p:cNvPr id="4" name="Rectangular Callout 3"/>
          <p:cNvSpPr/>
          <p:nvPr/>
        </p:nvSpPr>
        <p:spPr bwMode="gray">
          <a:xfrm>
            <a:off x="5043949" y="1422242"/>
            <a:ext cx="2766060" cy="722809"/>
          </a:xfrm>
          <a:prstGeom prst="wedgeRectCallout">
            <a:avLst>
              <a:gd name="adj1" fmla="val -75378"/>
              <a:gd name="adj2" fmla="val 105196"/>
            </a:avLst>
          </a:prstGeom>
          <a:noFill/>
          <a:ln w="19050" cmpd="sng">
            <a:solidFill>
              <a:schemeClr val="accent6"/>
            </a:solidFill>
            <a:miter lim="800000"/>
            <a:headEnd/>
            <a:tailEnd/>
          </a:ln>
        </p:spPr>
        <p:txBody>
          <a:bodyPr rtlCol="0" anchor="ctr"/>
          <a:lstStyle/>
          <a:p>
            <a:pPr algn="ctr"/>
            <a:r>
              <a:rPr lang="ja-JP" altLang="en-US" sz="1800" dirty="0" smtClean="0">
                <a:solidFill>
                  <a:schemeClr val="accent6"/>
                </a:solidFill>
                <a:latin typeface="Noto Sans CJK JP Medium" charset="-128"/>
                <a:ea typeface="Noto Sans CJK JP Medium" charset="-128"/>
                <a:cs typeface="Noto Sans CJK JP Medium" charset="-128"/>
              </a:rPr>
              <a:t>オンデマンド</a:t>
            </a:r>
            <a:r>
              <a:rPr lang="en-US" altLang="ja-JP" sz="1800" dirty="0" smtClean="0">
                <a:solidFill>
                  <a:schemeClr val="accent6"/>
                </a:solidFill>
                <a:latin typeface="Noto Sans CJK JP Medium" charset="-128"/>
                <a:ea typeface="Noto Sans CJK JP Medium" charset="-128"/>
                <a:cs typeface="Noto Sans CJK JP Medium" charset="-128"/>
              </a:rPr>
              <a:t>30</a:t>
            </a:r>
            <a:r>
              <a:rPr lang="ja-JP" altLang="en-US" sz="1800" dirty="0" smtClean="0">
                <a:solidFill>
                  <a:schemeClr val="accent6"/>
                </a:solidFill>
                <a:latin typeface="Noto Sans CJK JP Medium" charset="-128"/>
                <a:ea typeface="Noto Sans CJK JP Medium" charset="-128"/>
                <a:cs typeface="Noto Sans CJK JP Medium" charset="-128"/>
              </a:rPr>
              <a:t>台にする</a:t>
            </a:r>
            <a:endParaRPr lang="en-US" sz="1800" dirty="0" smtClean="0">
              <a:solidFill>
                <a:schemeClr val="accent6"/>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19280217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スポットインスタンス自動入札の要件</a:t>
            </a:r>
            <a:endParaRPr lang="en-US" b="0" dirty="0">
              <a:latin typeface="Noto Sans CJK JP Medium" charset="-128"/>
              <a:ea typeface="Noto Sans CJK JP Medium" charset="-128"/>
              <a:cs typeface="Noto Sans CJK JP Medium" charset="-128"/>
            </a:endParaRPr>
          </a:p>
        </p:txBody>
      </p:sp>
      <p:sp>
        <p:nvSpPr>
          <p:cNvPr id="3" name="Content Placeholder 2"/>
          <p:cNvSpPr>
            <a:spLocks noGrp="1"/>
          </p:cNvSpPr>
          <p:nvPr>
            <p:ph idx="1"/>
          </p:nvPr>
        </p:nvSpPr>
        <p:spPr/>
        <p:txBody>
          <a:bodyPr/>
          <a:lstStyle/>
          <a:p>
            <a:r>
              <a:rPr lang="ja-JP" altLang="en-US" sz="2400" b="0" dirty="0" smtClean="0">
                <a:latin typeface="Noto Sans CJK JP Medium" charset="-128"/>
                <a:ea typeface="Noto Sans CJK JP Medium" charset="-128"/>
                <a:cs typeface="Noto Sans CJK JP Medium" charset="-128"/>
              </a:rPr>
              <a:t>インスタンスが落とされるリスクを指定したい</a:t>
            </a:r>
            <a:endParaRPr lang="en-US" altLang="ja-JP" sz="2400" b="0" dirty="0" smtClean="0">
              <a:latin typeface="Noto Sans CJK JP Medium" charset="-128"/>
              <a:ea typeface="Noto Sans CJK JP Medium" charset="-128"/>
              <a:cs typeface="Noto Sans CJK JP Medium" charset="-128"/>
            </a:endParaRPr>
          </a:p>
        </p:txBody>
      </p:sp>
      <p:sp>
        <p:nvSpPr>
          <p:cNvPr id="20" name="コンテンツ プレースホルダー 2"/>
          <p:cNvSpPr txBox="1">
            <a:spLocks/>
          </p:cNvSpPr>
          <p:nvPr/>
        </p:nvSpPr>
        <p:spPr bwMode="auto">
          <a:xfrm>
            <a:off x="7519055" y="6038090"/>
            <a:ext cx="860147"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smtClean="0">
                <a:latin typeface="Noto Sans CJK JP Medium" charset="-128"/>
                <a:ea typeface="Noto Sans CJK JP Medium" charset="-128"/>
                <a:cs typeface="Noto Sans CJK JP Medium" charset="-128"/>
              </a:rPr>
              <a:t>時間</a:t>
            </a:r>
            <a:endParaRPr lang="en-US" altLang="ja-JP" sz="1600" b="0" dirty="0" smtClean="0">
              <a:latin typeface="Noto Sans CJK JP Medium" charset="-128"/>
              <a:ea typeface="Noto Sans CJK JP Medium" charset="-128"/>
              <a:cs typeface="Noto Sans CJK JP Medium" charset="-128"/>
            </a:endParaRPr>
          </a:p>
        </p:txBody>
      </p:sp>
      <p:sp>
        <p:nvSpPr>
          <p:cNvPr id="21" name="コンテンツ プレースホルダー 2"/>
          <p:cNvSpPr txBox="1">
            <a:spLocks/>
          </p:cNvSpPr>
          <p:nvPr/>
        </p:nvSpPr>
        <p:spPr bwMode="auto">
          <a:xfrm>
            <a:off x="630351" y="2425879"/>
            <a:ext cx="1075822"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dirty="0" smtClean="0">
                <a:latin typeface="Noto Sans CJK JP Medium" charset="-128"/>
                <a:ea typeface="Noto Sans CJK JP Medium" charset="-128"/>
                <a:cs typeface="Noto Sans CJK JP Medium" charset="-128"/>
              </a:rPr>
              <a:t>リソース</a:t>
            </a:r>
            <a:endParaRPr lang="en-US" altLang="ja-JP" sz="1600" b="0" dirty="0" smtClean="0">
              <a:latin typeface="Noto Sans CJK JP Medium" charset="-128"/>
              <a:ea typeface="Noto Sans CJK JP Medium" charset="-128"/>
              <a:cs typeface="Noto Sans CJK JP Medium" charset="-128"/>
            </a:endParaRPr>
          </a:p>
        </p:txBody>
      </p:sp>
      <p:sp>
        <p:nvSpPr>
          <p:cNvPr id="81" name="Rectangle 80"/>
          <p:cNvSpPr/>
          <p:nvPr/>
        </p:nvSpPr>
        <p:spPr bwMode="gray">
          <a:xfrm>
            <a:off x="1706173" y="4986177"/>
            <a:ext cx="1574237" cy="919315"/>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cxnSp>
        <p:nvCxnSpPr>
          <p:cNvPr id="13" name="Straight Arrow Connector 12"/>
          <p:cNvCxnSpPr/>
          <p:nvPr/>
        </p:nvCxnSpPr>
        <p:spPr bwMode="auto">
          <a:xfrm flipH="1" flipV="1">
            <a:off x="1695377" y="2359378"/>
            <a:ext cx="1" cy="3704746"/>
          </a:xfrm>
          <a:prstGeom prst="straightConnector1">
            <a:avLst/>
          </a:prstGeom>
          <a:solidFill>
            <a:schemeClr val="accent1"/>
          </a:solidFill>
          <a:ln w="9525" cap="flat" cmpd="sng" algn="ctr">
            <a:solidFill>
              <a:srgbClr val="33464D"/>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2" name="Rectangle 21"/>
          <p:cNvSpPr/>
          <p:nvPr/>
        </p:nvSpPr>
        <p:spPr bwMode="gray">
          <a:xfrm>
            <a:off x="3280410" y="2817504"/>
            <a:ext cx="1574237" cy="3094217"/>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23" name="Rectangle 22"/>
          <p:cNvSpPr/>
          <p:nvPr/>
        </p:nvSpPr>
        <p:spPr bwMode="gray">
          <a:xfrm>
            <a:off x="4853377" y="4997660"/>
            <a:ext cx="1574237" cy="919315"/>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24" name="Rectangle 23"/>
          <p:cNvSpPr/>
          <p:nvPr/>
        </p:nvSpPr>
        <p:spPr bwMode="gray">
          <a:xfrm>
            <a:off x="6426979" y="2983230"/>
            <a:ext cx="1574237" cy="2916280"/>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cxnSp>
        <p:nvCxnSpPr>
          <p:cNvPr id="10" name="Straight Arrow Connector 9"/>
          <p:cNvCxnSpPr/>
          <p:nvPr/>
        </p:nvCxnSpPr>
        <p:spPr bwMode="auto">
          <a:xfrm flipV="1">
            <a:off x="1542974" y="5882685"/>
            <a:ext cx="6968848" cy="29036"/>
          </a:xfrm>
          <a:prstGeom prst="straightConnector1">
            <a:avLst/>
          </a:prstGeom>
          <a:solidFill>
            <a:schemeClr val="accent1"/>
          </a:solidFill>
          <a:ln w="9525" cap="flat" cmpd="sng" algn="ctr">
            <a:solidFill>
              <a:srgbClr val="33464D"/>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5" name="Rectangle 24"/>
          <p:cNvSpPr/>
          <p:nvPr/>
        </p:nvSpPr>
        <p:spPr bwMode="gray">
          <a:xfrm>
            <a:off x="7989151" y="4964278"/>
            <a:ext cx="274739" cy="919315"/>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26" name="コンテンツ プレースホルダー 2"/>
          <p:cNvSpPr txBox="1">
            <a:spLocks/>
          </p:cNvSpPr>
          <p:nvPr/>
        </p:nvSpPr>
        <p:spPr bwMode="auto">
          <a:xfrm>
            <a:off x="3806758" y="2416528"/>
            <a:ext cx="611709"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endParaRPr lang="en-US" altLang="ja-JP" sz="1600" b="0" dirty="0" smtClean="0">
              <a:solidFill>
                <a:schemeClr val="accent6"/>
              </a:solidFill>
              <a:latin typeface="Noto Sans CJK JP Medium" charset="-128"/>
              <a:ea typeface="Noto Sans CJK JP Medium" charset="-128"/>
              <a:cs typeface="Noto Sans CJK JP Medium" charset="-128"/>
            </a:endParaRPr>
          </a:p>
        </p:txBody>
      </p:sp>
      <p:sp>
        <p:nvSpPr>
          <p:cNvPr id="28" name="コンテンツ プレースホルダー 2"/>
          <p:cNvSpPr txBox="1">
            <a:spLocks/>
          </p:cNvSpPr>
          <p:nvPr/>
        </p:nvSpPr>
        <p:spPr bwMode="auto">
          <a:xfrm>
            <a:off x="2356814" y="4611303"/>
            <a:ext cx="611709"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rPr>
              <a:t>5</a:t>
            </a:r>
            <a:r>
              <a:rPr lang="ja-JP" altLang="en-US" sz="1600" b="0" dirty="0" smtClean="0">
                <a:solidFill>
                  <a:schemeClr val="tx2">
                    <a:lumMod val="60000"/>
                    <a:lumOff val="40000"/>
                  </a:schemeClr>
                </a:solidFill>
                <a:latin typeface="Noto Sans CJK JP Medium" charset="-128"/>
                <a:ea typeface="Noto Sans CJK JP Medium" charset="-128"/>
                <a:cs typeface="Noto Sans CJK JP Medium" charset="-128"/>
              </a:rPr>
              <a:t>台</a:t>
            </a:r>
            <a:endPar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endParaRPr>
          </a:p>
        </p:txBody>
      </p:sp>
      <p:sp>
        <p:nvSpPr>
          <p:cNvPr id="29" name="コンテンツ プレースホルダー 2"/>
          <p:cNvSpPr txBox="1">
            <a:spLocks/>
          </p:cNvSpPr>
          <p:nvPr/>
        </p:nvSpPr>
        <p:spPr bwMode="auto">
          <a:xfrm>
            <a:off x="2292036" y="6038088"/>
            <a:ext cx="611709"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dirty="0" smtClean="0">
                <a:solidFill>
                  <a:schemeClr val="tx2">
                    <a:lumMod val="60000"/>
                    <a:lumOff val="40000"/>
                  </a:schemeClr>
                </a:solidFill>
                <a:latin typeface="Noto Sans CJK JP Medium" charset="-128"/>
                <a:ea typeface="Noto Sans CJK JP Medium" charset="-128"/>
                <a:cs typeface="Noto Sans CJK JP Medium" charset="-128"/>
              </a:rPr>
              <a:t>日中</a:t>
            </a:r>
            <a:endPar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endParaRPr>
          </a:p>
        </p:txBody>
      </p:sp>
      <p:sp>
        <p:nvSpPr>
          <p:cNvPr id="30" name="コンテンツ プレースホルダー 2"/>
          <p:cNvSpPr txBox="1">
            <a:spLocks/>
          </p:cNvSpPr>
          <p:nvPr/>
        </p:nvSpPr>
        <p:spPr bwMode="auto">
          <a:xfrm>
            <a:off x="3799010" y="6038089"/>
            <a:ext cx="611709"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dirty="0" smtClean="0">
                <a:solidFill>
                  <a:schemeClr val="accent6"/>
                </a:solidFill>
                <a:latin typeface="Noto Sans CJK JP Medium" charset="-128"/>
                <a:ea typeface="Noto Sans CJK JP Medium" charset="-128"/>
                <a:cs typeface="Noto Sans CJK JP Medium" charset="-128"/>
              </a:rPr>
              <a:t>夜間</a:t>
            </a:r>
            <a:endParaRPr lang="en-US" altLang="ja-JP" sz="1600" b="0" dirty="0" smtClean="0">
              <a:solidFill>
                <a:schemeClr val="accent6"/>
              </a:solidFill>
              <a:latin typeface="Noto Sans CJK JP Medium" charset="-128"/>
              <a:ea typeface="Noto Sans CJK JP Medium" charset="-128"/>
              <a:cs typeface="Noto Sans CJK JP Medium" charset="-128"/>
            </a:endParaRPr>
          </a:p>
        </p:txBody>
      </p:sp>
      <p:sp>
        <p:nvSpPr>
          <p:cNvPr id="17" name="Rectangle 16"/>
          <p:cNvSpPr/>
          <p:nvPr/>
        </p:nvSpPr>
        <p:spPr bwMode="gray">
          <a:xfrm>
            <a:off x="6426978" y="2812236"/>
            <a:ext cx="1574237" cy="1361655"/>
          </a:xfrm>
          <a:prstGeom prst="rect">
            <a:avLst/>
          </a:prstGeom>
          <a:solidFill>
            <a:schemeClr val="accent6"/>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18" name="Rectangle 17"/>
          <p:cNvSpPr/>
          <p:nvPr/>
        </p:nvSpPr>
        <p:spPr bwMode="gray">
          <a:xfrm>
            <a:off x="3279139" y="2812236"/>
            <a:ext cx="1574237" cy="1361655"/>
          </a:xfrm>
          <a:prstGeom prst="rect">
            <a:avLst/>
          </a:prstGeom>
          <a:solidFill>
            <a:schemeClr val="accent6"/>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27" name="Rectangular Callout 26"/>
          <p:cNvSpPr/>
          <p:nvPr/>
        </p:nvSpPr>
        <p:spPr bwMode="gray">
          <a:xfrm>
            <a:off x="4503420" y="1380926"/>
            <a:ext cx="4537710" cy="722809"/>
          </a:xfrm>
          <a:prstGeom prst="wedgeRectCallout">
            <a:avLst>
              <a:gd name="adj1" fmla="val -41735"/>
              <a:gd name="adj2" fmla="val 149473"/>
            </a:avLst>
          </a:prstGeom>
          <a:noFill/>
          <a:ln w="19050" cmpd="sng">
            <a:solidFill>
              <a:schemeClr val="tx2">
                <a:lumMod val="60000"/>
                <a:lumOff val="40000"/>
              </a:schemeClr>
            </a:solidFill>
            <a:miter lim="800000"/>
            <a:headEnd/>
            <a:tailEnd/>
          </a:ln>
        </p:spPr>
        <p:txBody>
          <a:bodyPr rtlCol="0" anchor="ctr"/>
          <a:lstStyle/>
          <a:p>
            <a:pPr algn="ctr"/>
            <a:r>
              <a:rPr lang="ja-JP" altLang="en-US" sz="1800" dirty="0" smtClean="0">
                <a:solidFill>
                  <a:schemeClr val="tx2">
                    <a:lumMod val="60000"/>
                    <a:lumOff val="40000"/>
                  </a:schemeClr>
                </a:solidFill>
                <a:latin typeface="Noto Sans CJK JP Medium" charset="-128"/>
                <a:ea typeface="Noto Sans CJK JP Medium" charset="-128"/>
                <a:cs typeface="Noto Sans CJK JP Medium" charset="-128"/>
              </a:rPr>
              <a:t>取得するスポットインスタンスに対して</a:t>
            </a:r>
            <a:endParaRPr lang="en-US" altLang="ja-JP" sz="1800" dirty="0" smtClean="0">
              <a:solidFill>
                <a:schemeClr val="tx2">
                  <a:lumMod val="60000"/>
                  <a:lumOff val="40000"/>
                </a:schemeClr>
              </a:solidFill>
              <a:latin typeface="Noto Sans CJK JP Medium" charset="-128"/>
              <a:ea typeface="Noto Sans CJK JP Medium" charset="-128"/>
              <a:cs typeface="Noto Sans CJK JP Medium" charset="-128"/>
            </a:endParaRPr>
          </a:p>
          <a:p>
            <a:pPr algn="ctr"/>
            <a:r>
              <a:rPr lang="ja-JP" altLang="en-US" sz="1800" dirty="0" smtClean="0">
                <a:solidFill>
                  <a:schemeClr val="accent6"/>
                </a:solidFill>
                <a:latin typeface="Noto Sans CJK JP Medium" charset="-128"/>
                <a:ea typeface="Noto Sans CJK JP Medium" charset="-128"/>
                <a:cs typeface="Noto Sans CJK JP Medium" charset="-128"/>
              </a:rPr>
              <a:t>落とされるリスク</a:t>
            </a:r>
            <a:r>
              <a:rPr lang="ja-JP" altLang="en-US" sz="1800" dirty="0" smtClean="0">
                <a:solidFill>
                  <a:schemeClr val="tx2">
                    <a:lumMod val="60000"/>
                    <a:lumOff val="40000"/>
                  </a:schemeClr>
                </a:solidFill>
                <a:latin typeface="Noto Sans CJK JP Medium" charset="-128"/>
                <a:ea typeface="Noto Sans CJK JP Medium" charset="-128"/>
                <a:cs typeface="Noto Sans CJK JP Medium" charset="-128"/>
              </a:rPr>
              <a:t>を指定する</a:t>
            </a:r>
            <a:endParaRPr lang="en-US" sz="1800" dirty="0" smtClean="0">
              <a:solidFill>
                <a:schemeClr val="tx2">
                  <a:lumMod val="60000"/>
                  <a:lumOff val="40000"/>
                </a:schemeClr>
              </a:solidFill>
              <a:latin typeface="Noto Sans CJK JP Medium" charset="-128"/>
              <a:ea typeface="Noto Sans CJK JP Medium" charset="-128"/>
              <a:cs typeface="Noto Sans CJK JP Medium" charset="-128"/>
            </a:endParaRPr>
          </a:p>
        </p:txBody>
      </p:sp>
      <p:sp>
        <p:nvSpPr>
          <p:cNvPr id="31" name="コンテンツ プレースホルダー 2"/>
          <p:cNvSpPr txBox="1">
            <a:spLocks/>
          </p:cNvSpPr>
          <p:nvPr/>
        </p:nvSpPr>
        <p:spPr bwMode="auto">
          <a:xfrm>
            <a:off x="3501391" y="2416528"/>
            <a:ext cx="1222442"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rPr>
              <a:t>15</a:t>
            </a:r>
            <a:r>
              <a:rPr lang="ja-JP" altLang="en-US" sz="1600" b="0" dirty="0" smtClean="0">
                <a:solidFill>
                  <a:schemeClr val="tx2">
                    <a:lumMod val="60000"/>
                    <a:lumOff val="40000"/>
                  </a:schemeClr>
                </a:solidFill>
                <a:latin typeface="Noto Sans CJK JP Medium" charset="-128"/>
                <a:ea typeface="Noto Sans CJK JP Medium" charset="-128"/>
                <a:cs typeface="Noto Sans CJK JP Medium" charset="-128"/>
              </a:rPr>
              <a:t>台</a:t>
            </a:r>
            <a:r>
              <a:rPr lang="en-US" altLang="ja-JP" sz="1600" b="0" dirty="0" smtClean="0">
                <a:solidFill>
                  <a:schemeClr val="tx2">
                    <a:lumMod val="60000"/>
                    <a:lumOff val="40000"/>
                  </a:schemeClr>
                </a:solidFill>
                <a:latin typeface="Noto Sans CJK JP Medium" charset="-128"/>
                <a:ea typeface="Noto Sans CJK JP Medium" charset="-128"/>
                <a:cs typeface="Noto Sans CJK JP Medium" charset="-128"/>
              </a:rPr>
              <a:t> </a:t>
            </a:r>
            <a:r>
              <a:rPr lang="en-US" altLang="ja-JP" sz="1600" b="0" dirty="0" smtClean="0">
                <a:solidFill>
                  <a:schemeClr val="accent6"/>
                </a:solidFill>
                <a:latin typeface="Noto Sans CJK JP Medium" charset="-128"/>
                <a:ea typeface="Noto Sans CJK JP Medium" charset="-128"/>
                <a:cs typeface="Noto Sans CJK JP Medium" charset="-128"/>
              </a:rPr>
              <a:t>+ 15</a:t>
            </a:r>
            <a:r>
              <a:rPr lang="ja-JP" altLang="en-US" sz="1600" b="0" dirty="0" smtClean="0">
                <a:solidFill>
                  <a:schemeClr val="accent6"/>
                </a:solidFill>
                <a:latin typeface="Noto Sans CJK JP Medium" charset="-128"/>
                <a:ea typeface="Noto Sans CJK JP Medium" charset="-128"/>
                <a:cs typeface="Noto Sans CJK JP Medium" charset="-128"/>
              </a:rPr>
              <a:t>台</a:t>
            </a:r>
            <a:endParaRPr lang="en-US" altLang="ja-JP" sz="1600" b="0" dirty="0" smtClean="0">
              <a:solidFill>
                <a:schemeClr val="accent6"/>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9357527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ユーザが指定する設定</a:t>
            </a:r>
            <a:endParaRPr lang="en-US" b="0" dirty="0">
              <a:latin typeface="Noto Sans CJK JP Medium" charset="-128"/>
              <a:ea typeface="Noto Sans CJK JP Medium" charset="-128"/>
              <a:cs typeface="Noto Sans CJK JP Medium" charset="-128"/>
            </a:endParaRPr>
          </a:p>
        </p:txBody>
      </p:sp>
      <p:pic>
        <p:nvPicPr>
          <p:cNvPr id="16" name="Content Placeholder 1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668889" y="773289"/>
            <a:ext cx="5752924" cy="5794017"/>
          </a:xfrm>
        </p:spPr>
      </p:pic>
    </p:spTree>
    <p:extLst>
      <p:ext uri="{BB962C8B-B14F-4D97-AF65-F5344CB8AC3E}">
        <p14:creationId xmlns:p14="http://schemas.microsoft.com/office/powerpoint/2010/main" val="14384001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スケジュールの設定</a:t>
            </a:r>
            <a:endParaRPr lang="en-US" b="0" dirty="0">
              <a:latin typeface="Noto Sans CJK JP Medium" charset="-128"/>
              <a:ea typeface="Noto Sans CJK JP Medium" charset="-128"/>
              <a:cs typeface="Noto Sans CJK JP Medium" charset="-128"/>
            </a:endParaRPr>
          </a:p>
        </p:txBody>
      </p:sp>
      <p:pic>
        <p:nvPicPr>
          <p:cNvPr id="16" name="Content Placeholder 1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668889" y="773289"/>
            <a:ext cx="5752924" cy="5794017"/>
          </a:xfrm>
        </p:spPr>
      </p:pic>
      <p:sp>
        <p:nvSpPr>
          <p:cNvPr id="5" name="Rectangle 4"/>
          <p:cNvSpPr/>
          <p:nvPr/>
        </p:nvSpPr>
        <p:spPr bwMode="gray">
          <a:xfrm>
            <a:off x="3988029" y="2065867"/>
            <a:ext cx="4207705" cy="282222"/>
          </a:xfrm>
          <a:prstGeom prst="rect">
            <a:avLst/>
          </a:prstGeom>
          <a:noFill/>
          <a:ln w="19050" cmpd="sng">
            <a:solidFill>
              <a:schemeClr val="accent6"/>
            </a:solidFill>
            <a:miter lim="800000"/>
            <a:headEnd/>
            <a:tailEnd/>
          </a:ln>
        </p:spPr>
        <p:txBody>
          <a:bodyPr rtlCol="0" anchor="ctr"/>
          <a:lstStyle/>
          <a:p>
            <a:pPr algn="ct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6" name="Rectangle 5"/>
          <p:cNvSpPr/>
          <p:nvPr/>
        </p:nvSpPr>
        <p:spPr bwMode="gray">
          <a:xfrm>
            <a:off x="4301067" y="2726268"/>
            <a:ext cx="1440858" cy="282222"/>
          </a:xfrm>
          <a:prstGeom prst="rect">
            <a:avLst/>
          </a:prstGeom>
          <a:noFill/>
          <a:ln w="19050" cmpd="sng">
            <a:solidFill>
              <a:schemeClr val="accent6"/>
            </a:solidFill>
            <a:miter lim="800000"/>
            <a:headEnd/>
            <a:tailEnd/>
          </a:ln>
        </p:spPr>
        <p:txBody>
          <a:bodyPr rtlCol="0" anchor="ctr"/>
          <a:lstStyle/>
          <a:p>
            <a:pPr algn="ct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7" name="Rectangle 6"/>
          <p:cNvSpPr/>
          <p:nvPr/>
        </p:nvSpPr>
        <p:spPr bwMode="gray">
          <a:xfrm>
            <a:off x="4301067" y="4289780"/>
            <a:ext cx="1440858" cy="282222"/>
          </a:xfrm>
          <a:prstGeom prst="rect">
            <a:avLst/>
          </a:prstGeom>
          <a:noFill/>
          <a:ln w="19050" cmpd="sng">
            <a:solidFill>
              <a:schemeClr val="accent6"/>
            </a:solidFill>
            <a:miter lim="800000"/>
            <a:headEnd/>
            <a:tailEnd/>
          </a:ln>
        </p:spPr>
        <p:txBody>
          <a:bodyPr rtlCol="0" anchor="ctr"/>
          <a:lstStyle/>
          <a:p>
            <a:pPr algn="ct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8" name="Rectangle 7"/>
          <p:cNvSpPr/>
          <p:nvPr/>
        </p:nvSpPr>
        <p:spPr bwMode="gray">
          <a:xfrm>
            <a:off x="4033185" y="6300976"/>
            <a:ext cx="2412772" cy="282222"/>
          </a:xfrm>
          <a:prstGeom prst="rect">
            <a:avLst/>
          </a:prstGeom>
          <a:noFill/>
          <a:ln w="19050" cmpd="sng">
            <a:solidFill>
              <a:schemeClr val="accent6"/>
            </a:solidFill>
            <a:miter lim="800000"/>
            <a:headEnd/>
            <a:tailEnd/>
          </a:ln>
        </p:spPr>
        <p:txBody>
          <a:bodyPr rtlCol="0" anchor="ctr"/>
          <a:lstStyle/>
          <a:p>
            <a:pPr algn="ct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9" name="Rectangular Callout 8"/>
          <p:cNvSpPr/>
          <p:nvPr/>
        </p:nvSpPr>
        <p:spPr bwMode="gray">
          <a:xfrm>
            <a:off x="257050" y="1648178"/>
            <a:ext cx="3206045" cy="666044"/>
          </a:xfrm>
          <a:prstGeom prst="wedgeRectCallout">
            <a:avLst>
              <a:gd name="adj1" fmla="val 64994"/>
              <a:gd name="adj2" fmla="val 30161"/>
            </a:avLst>
          </a:prstGeom>
          <a:noFill/>
          <a:ln w="19050" cmpd="sng">
            <a:solidFill>
              <a:schemeClr val="tx2">
                <a:lumMod val="60000"/>
                <a:lumOff val="40000"/>
              </a:schemeClr>
            </a:solidFill>
            <a:miter lim="800000"/>
            <a:headEnd/>
            <a:tailEnd/>
          </a:ln>
        </p:spPr>
        <p:txBody>
          <a:bodyPr rtlCol="0" anchor="ctr"/>
          <a:lstStyle/>
          <a:p>
            <a:pPr algn="ctr"/>
            <a:r>
              <a:rPr lang="ja-JP" altLang="en-US" sz="1800" dirty="0" smtClean="0">
                <a:solidFill>
                  <a:srgbClr val="33464D"/>
                </a:solidFill>
                <a:latin typeface="Noto Sans CJK JP Medium" charset="-128"/>
                <a:ea typeface="Noto Sans CJK JP Medium" charset="-128"/>
                <a:cs typeface="Noto Sans CJK JP Medium" charset="-128"/>
              </a:rPr>
              <a:t>曜日の指定</a:t>
            </a: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10" name="Rectangular Callout 9"/>
          <p:cNvSpPr/>
          <p:nvPr/>
        </p:nvSpPr>
        <p:spPr bwMode="gray">
          <a:xfrm>
            <a:off x="257049" y="2669823"/>
            <a:ext cx="3206045" cy="666044"/>
          </a:xfrm>
          <a:prstGeom prst="wedgeRectCallout">
            <a:avLst>
              <a:gd name="adj1" fmla="val 75909"/>
              <a:gd name="adj2" fmla="val -18991"/>
            </a:avLst>
          </a:prstGeom>
          <a:noFill/>
          <a:ln w="19050" cmpd="sng">
            <a:solidFill>
              <a:schemeClr val="tx2">
                <a:lumMod val="60000"/>
                <a:lumOff val="40000"/>
              </a:schemeClr>
            </a:solidFill>
            <a:miter lim="800000"/>
            <a:headEnd/>
            <a:tailEnd/>
          </a:ln>
        </p:spPr>
        <p:txBody>
          <a:bodyPr rtlCol="0" anchor="ctr"/>
          <a:lstStyle/>
          <a:p>
            <a:pPr algn="ctr"/>
            <a:r>
              <a:rPr lang="ja-JP" altLang="en-US" sz="1800" dirty="0" smtClean="0">
                <a:solidFill>
                  <a:srgbClr val="33464D"/>
                </a:solidFill>
                <a:latin typeface="Noto Sans CJK JP Medium" charset="-128"/>
                <a:ea typeface="Noto Sans CJK JP Medium" charset="-128"/>
                <a:cs typeface="Noto Sans CJK JP Medium" charset="-128"/>
              </a:rPr>
              <a:t>時間の指定</a:t>
            </a:r>
            <a:endParaRPr lang="en-US" sz="1800" dirty="0" smtClean="0">
              <a:solidFill>
                <a:srgbClr val="33464D"/>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46101826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マスターインスタンスグループの設定</a:t>
            </a:r>
            <a:endParaRPr lang="en-US" b="0" dirty="0">
              <a:latin typeface="Noto Sans CJK JP Medium" charset="-128"/>
              <a:ea typeface="Noto Sans CJK JP Medium" charset="-128"/>
              <a:cs typeface="Noto Sans CJK JP Medium" charset="-128"/>
            </a:endParaRPr>
          </a:p>
        </p:txBody>
      </p:sp>
      <p:pic>
        <p:nvPicPr>
          <p:cNvPr id="16" name="Content Placeholder 1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668889" y="773289"/>
            <a:ext cx="5752924" cy="5794017"/>
          </a:xfrm>
        </p:spPr>
      </p:pic>
      <p:sp>
        <p:nvSpPr>
          <p:cNvPr id="5" name="Rectangular Callout 4"/>
          <p:cNvSpPr/>
          <p:nvPr/>
        </p:nvSpPr>
        <p:spPr bwMode="gray">
          <a:xfrm>
            <a:off x="109871" y="778934"/>
            <a:ext cx="3399139" cy="666044"/>
          </a:xfrm>
          <a:prstGeom prst="wedgeRectCallout">
            <a:avLst>
              <a:gd name="adj1" fmla="val 53933"/>
              <a:gd name="adj2" fmla="val -32593"/>
            </a:avLst>
          </a:prstGeom>
          <a:noFill/>
          <a:ln w="19050" cmpd="sng">
            <a:solidFill>
              <a:schemeClr val="tx2">
                <a:lumMod val="60000"/>
                <a:lumOff val="40000"/>
              </a:schemeClr>
            </a:solidFill>
            <a:miter lim="800000"/>
            <a:headEnd/>
            <a:tailEnd/>
          </a:ln>
        </p:spPr>
        <p:txBody>
          <a:bodyPr rtlCol="0" anchor="ctr"/>
          <a:lstStyle/>
          <a:p>
            <a:pPr algn="ctr"/>
            <a:r>
              <a:rPr lang="ja-JP" altLang="en-US" sz="1800" dirty="0" smtClean="0">
                <a:solidFill>
                  <a:srgbClr val="33464D"/>
                </a:solidFill>
                <a:latin typeface="Noto Sans CJK JP Medium" charset="-128"/>
                <a:ea typeface="Noto Sans CJK JP Medium" charset="-128"/>
                <a:cs typeface="Noto Sans CJK JP Medium" charset="-128"/>
              </a:rPr>
              <a:t>マスターインスタンスグループ</a:t>
            </a:r>
            <a:endParaRPr lang="en-US" altLang="ja-JP" sz="1800" dirty="0">
              <a:solidFill>
                <a:srgbClr val="33464D"/>
              </a:solidFill>
              <a:latin typeface="Noto Sans CJK JP Medium" charset="-128"/>
              <a:ea typeface="Noto Sans CJK JP Medium" charset="-128"/>
              <a:cs typeface="Noto Sans CJK JP Medium" charset="-128"/>
            </a:endParaRPr>
          </a:p>
          <a:p>
            <a:pPr algn="ctr"/>
            <a:r>
              <a:rPr lang="ja-JP" altLang="en-US" sz="1800" dirty="0" smtClean="0">
                <a:solidFill>
                  <a:srgbClr val="33464D"/>
                </a:solidFill>
                <a:latin typeface="Noto Sans CJK JP Medium" charset="-128"/>
                <a:ea typeface="Noto Sans CJK JP Medium" charset="-128"/>
                <a:cs typeface="Noto Sans CJK JP Medium" charset="-128"/>
              </a:rPr>
              <a:t>のインスタンスタイプ</a:t>
            </a: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6" name="Rectangle 5"/>
          <p:cNvSpPr/>
          <p:nvPr/>
        </p:nvSpPr>
        <p:spPr bwMode="gray">
          <a:xfrm>
            <a:off x="3649362" y="784578"/>
            <a:ext cx="3011083" cy="220135"/>
          </a:xfrm>
          <a:prstGeom prst="rect">
            <a:avLst/>
          </a:prstGeom>
          <a:noFill/>
          <a:ln w="19050" cmpd="sng">
            <a:solidFill>
              <a:schemeClr val="accent6"/>
            </a:solidFill>
            <a:miter lim="800000"/>
            <a:headEnd/>
            <a:tailEnd/>
          </a:ln>
        </p:spPr>
        <p:txBody>
          <a:bodyPr rtlCol="0" anchor="ctr"/>
          <a:lstStyle/>
          <a:p>
            <a:pPr algn="ct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7" name="Rectangle 6"/>
          <p:cNvSpPr/>
          <p:nvPr/>
        </p:nvSpPr>
        <p:spPr bwMode="gray">
          <a:xfrm>
            <a:off x="3649362" y="1026587"/>
            <a:ext cx="3011083" cy="186266"/>
          </a:xfrm>
          <a:prstGeom prst="rect">
            <a:avLst/>
          </a:prstGeom>
          <a:noFill/>
          <a:ln w="19050" cmpd="sng">
            <a:solidFill>
              <a:schemeClr val="accent6"/>
            </a:solidFill>
            <a:miter lim="800000"/>
            <a:headEnd/>
            <a:tailEnd/>
          </a:ln>
        </p:spPr>
        <p:txBody>
          <a:bodyPr rtlCol="0" anchor="ctr"/>
          <a:lstStyle/>
          <a:p>
            <a:pPr algn="ct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8" name="Rectangle 7"/>
          <p:cNvSpPr/>
          <p:nvPr/>
        </p:nvSpPr>
        <p:spPr bwMode="gray">
          <a:xfrm>
            <a:off x="3649362" y="1227316"/>
            <a:ext cx="3011083" cy="186266"/>
          </a:xfrm>
          <a:prstGeom prst="rect">
            <a:avLst/>
          </a:prstGeom>
          <a:noFill/>
          <a:ln w="19050" cmpd="sng">
            <a:solidFill>
              <a:schemeClr val="accent6"/>
            </a:solidFill>
            <a:miter lim="800000"/>
            <a:headEnd/>
            <a:tailEnd/>
          </a:ln>
        </p:spPr>
        <p:txBody>
          <a:bodyPr rtlCol="0" anchor="ctr"/>
          <a:lstStyle/>
          <a:p>
            <a:pPr algn="ct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9" name="Rectangular Callout 8"/>
          <p:cNvSpPr/>
          <p:nvPr/>
        </p:nvSpPr>
        <p:spPr bwMode="gray">
          <a:xfrm>
            <a:off x="109871" y="1674990"/>
            <a:ext cx="3399139" cy="666044"/>
          </a:xfrm>
          <a:prstGeom prst="wedgeRectCallout">
            <a:avLst>
              <a:gd name="adj1" fmla="val 53885"/>
              <a:gd name="adj2" fmla="val -130898"/>
            </a:avLst>
          </a:prstGeom>
          <a:noFill/>
          <a:ln w="19050" cmpd="sng">
            <a:solidFill>
              <a:schemeClr val="tx2">
                <a:lumMod val="60000"/>
                <a:lumOff val="40000"/>
              </a:schemeClr>
            </a:solidFill>
            <a:miter lim="800000"/>
            <a:headEnd/>
            <a:tailEnd/>
          </a:ln>
        </p:spPr>
        <p:txBody>
          <a:bodyPr rtlCol="0" anchor="ctr"/>
          <a:lstStyle/>
          <a:p>
            <a:pPr algn="ctr"/>
            <a:r>
              <a:rPr lang="ja-JP" altLang="en-US" sz="1800" dirty="0" smtClean="0">
                <a:solidFill>
                  <a:srgbClr val="33464D"/>
                </a:solidFill>
                <a:latin typeface="Noto Sans CJK JP Medium" charset="-128"/>
                <a:ea typeface="Noto Sans CJK JP Medium" charset="-128"/>
                <a:cs typeface="Noto Sans CJK JP Medium" charset="-128"/>
              </a:rPr>
              <a:t>クラスタで使用する</a:t>
            </a:r>
            <a:endParaRPr lang="en-US" altLang="ja-JP" sz="1800" dirty="0" smtClean="0">
              <a:solidFill>
                <a:srgbClr val="33464D"/>
              </a:solidFill>
              <a:latin typeface="Noto Sans CJK JP Medium" charset="-128"/>
              <a:ea typeface="Noto Sans CJK JP Medium" charset="-128"/>
              <a:cs typeface="Noto Sans CJK JP Medium" charset="-128"/>
            </a:endParaRPr>
          </a:p>
          <a:p>
            <a:pPr algn="ctr"/>
            <a:r>
              <a:rPr lang="ja-JP" altLang="en-US" sz="1800" dirty="0" smtClean="0">
                <a:solidFill>
                  <a:srgbClr val="33464D"/>
                </a:solidFill>
                <a:latin typeface="Noto Sans CJK JP Medium" charset="-128"/>
                <a:ea typeface="Noto Sans CJK JP Medium" charset="-128"/>
                <a:cs typeface="Noto Sans CJK JP Medium" charset="-128"/>
              </a:rPr>
              <a:t>ボリュームタイプ</a:t>
            </a:r>
            <a:endParaRPr lang="en-US" altLang="ja-JP" sz="1800" dirty="0" smtClean="0">
              <a:solidFill>
                <a:srgbClr val="33464D"/>
              </a:solidFill>
              <a:latin typeface="Noto Sans CJK JP Medium" charset="-128"/>
              <a:ea typeface="Noto Sans CJK JP Medium" charset="-128"/>
              <a:cs typeface="Noto Sans CJK JP Medium" charset="-128"/>
            </a:endParaRPr>
          </a:p>
        </p:txBody>
      </p:sp>
      <p:sp>
        <p:nvSpPr>
          <p:cNvPr id="10" name="Rectangular Callout 9"/>
          <p:cNvSpPr/>
          <p:nvPr/>
        </p:nvSpPr>
        <p:spPr bwMode="gray">
          <a:xfrm>
            <a:off x="109871" y="2571046"/>
            <a:ext cx="3399139" cy="666044"/>
          </a:xfrm>
          <a:prstGeom prst="wedgeRectCallout">
            <a:avLst>
              <a:gd name="adj1" fmla="val 62720"/>
              <a:gd name="adj2" fmla="val -222444"/>
            </a:avLst>
          </a:prstGeom>
          <a:noFill/>
          <a:ln w="19050" cmpd="sng">
            <a:solidFill>
              <a:schemeClr val="tx2">
                <a:lumMod val="60000"/>
                <a:lumOff val="40000"/>
              </a:schemeClr>
            </a:solidFill>
            <a:miter lim="800000"/>
            <a:headEnd/>
            <a:tailEnd/>
          </a:ln>
        </p:spPr>
        <p:txBody>
          <a:bodyPr rtlCol="0" anchor="ctr"/>
          <a:lstStyle/>
          <a:p>
            <a:pPr algn="ctr"/>
            <a:r>
              <a:rPr lang="ja-JP" altLang="en-US" sz="1800" dirty="0" smtClean="0">
                <a:solidFill>
                  <a:srgbClr val="33464D"/>
                </a:solidFill>
                <a:latin typeface="Noto Sans CJK JP Medium" charset="-128"/>
                <a:ea typeface="Noto Sans CJK JP Medium" charset="-128"/>
                <a:cs typeface="Noto Sans CJK JP Medium" charset="-128"/>
              </a:rPr>
              <a:t>マスターインスタンスグループ</a:t>
            </a:r>
            <a:endParaRPr lang="en-US" altLang="ja-JP" sz="1800" dirty="0" smtClean="0">
              <a:solidFill>
                <a:srgbClr val="33464D"/>
              </a:solidFill>
              <a:latin typeface="Noto Sans CJK JP Medium" charset="-128"/>
              <a:ea typeface="Noto Sans CJK JP Medium" charset="-128"/>
              <a:cs typeface="Noto Sans CJK JP Medium" charset="-128"/>
            </a:endParaRPr>
          </a:p>
          <a:p>
            <a:pPr algn="ctr"/>
            <a:r>
              <a:rPr lang="ja-JP" altLang="en-US" sz="1800" dirty="0" smtClean="0">
                <a:solidFill>
                  <a:srgbClr val="33464D"/>
                </a:solidFill>
                <a:latin typeface="Noto Sans CJK JP Medium" charset="-128"/>
                <a:ea typeface="Noto Sans CJK JP Medium" charset="-128"/>
                <a:cs typeface="Noto Sans CJK JP Medium" charset="-128"/>
              </a:rPr>
              <a:t>のボリューム容量</a:t>
            </a:r>
            <a:endParaRPr lang="en-US" altLang="ja-JP" sz="1800" dirty="0" smtClean="0">
              <a:solidFill>
                <a:srgbClr val="33464D"/>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59994285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コアグループの設定</a:t>
            </a:r>
            <a:endParaRPr lang="en-US" b="0" dirty="0">
              <a:latin typeface="Noto Sans CJK JP Medium" charset="-128"/>
              <a:ea typeface="Noto Sans CJK JP Medium" charset="-128"/>
              <a:cs typeface="Noto Sans CJK JP Medium" charset="-128"/>
            </a:endParaRPr>
          </a:p>
        </p:txBody>
      </p:sp>
      <p:pic>
        <p:nvPicPr>
          <p:cNvPr id="16" name="Content Placeholder 1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668889" y="773289"/>
            <a:ext cx="5752924" cy="5794017"/>
          </a:xfrm>
        </p:spPr>
      </p:pic>
      <p:sp>
        <p:nvSpPr>
          <p:cNvPr id="5" name="Rectangle 4"/>
          <p:cNvSpPr/>
          <p:nvPr/>
        </p:nvSpPr>
        <p:spPr bwMode="gray">
          <a:xfrm>
            <a:off x="3671940" y="1428044"/>
            <a:ext cx="3259438" cy="242711"/>
          </a:xfrm>
          <a:prstGeom prst="rect">
            <a:avLst/>
          </a:prstGeom>
          <a:noFill/>
          <a:ln w="19050" cmpd="sng">
            <a:solidFill>
              <a:schemeClr val="accent6"/>
            </a:solidFill>
            <a:miter lim="800000"/>
            <a:headEnd/>
            <a:tailEnd/>
          </a:ln>
        </p:spPr>
        <p:txBody>
          <a:bodyPr rtlCol="0" anchor="ctr"/>
          <a:lstStyle/>
          <a:p>
            <a:pPr algn="ct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6" name="Rectangular Callout 5"/>
          <p:cNvSpPr/>
          <p:nvPr/>
        </p:nvSpPr>
        <p:spPr bwMode="gray">
          <a:xfrm>
            <a:off x="188082" y="1089377"/>
            <a:ext cx="3206045" cy="677333"/>
          </a:xfrm>
          <a:prstGeom prst="wedgeRectCallout">
            <a:avLst>
              <a:gd name="adj1" fmla="val 57599"/>
              <a:gd name="adj2" fmla="val 23195"/>
            </a:avLst>
          </a:prstGeom>
          <a:noFill/>
          <a:ln w="19050" cmpd="sng">
            <a:solidFill>
              <a:schemeClr val="tx2">
                <a:lumMod val="60000"/>
                <a:lumOff val="40000"/>
              </a:schemeClr>
            </a:solidFill>
            <a:miter lim="800000"/>
            <a:headEnd/>
            <a:tailEnd/>
          </a:ln>
        </p:spPr>
        <p:txBody>
          <a:bodyPr rtlCol="0" anchor="ctr"/>
          <a:lstStyle/>
          <a:p>
            <a:pPr algn="ctr"/>
            <a:r>
              <a:rPr lang="ja-JP" altLang="en-US" sz="1800" dirty="0" smtClean="0">
                <a:solidFill>
                  <a:srgbClr val="33464D"/>
                </a:solidFill>
                <a:latin typeface="Noto Sans CJK JP Medium" charset="-128"/>
                <a:ea typeface="Noto Sans CJK JP Medium" charset="-128"/>
                <a:cs typeface="Noto Sans CJK JP Medium" charset="-128"/>
              </a:rPr>
              <a:t>コアインスタンスグループの</a:t>
            </a:r>
            <a:endParaRPr lang="en-US" altLang="ja-JP" sz="1800" dirty="0" smtClean="0">
              <a:solidFill>
                <a:srgbClr val="33464D"/>
              </a:solidFill>
              <a:latin typeface="Noto Sans CJK JP Medium" charset="-128"/>
              <a:ea typeface="Noto Sans CJK JP Medium" charset="-128"/>
              <a:cs typeface="Noto Sans CJK JP Medium" charset="-128"/>
            </a:endParaRPr>
          </a:p>
          <a:p>
            <a:pPr algn="ctr"/>
            <a:r>
              <a:rPr lang="ja-JP" altLang="en-US" sz="1800" dirty="0" smtClean="0">
                <a:solidFill>
                  <a:srgbClr val="33464D"/>
                </a:solidFill>
                <a:latin typeface="Noto Sans CJK JP Medium" charset="-128"/>
                <a:ea typeface="Noto Sans CJK JP Medium" charset="-128"/>
                <a:cs typeface="Noto Sans CJK JP Medium" charset="-128"/>
              </a:rPr>
              <a:t>インスタンスタイプ</a:t>
            </a: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7" name="Rectangle 6"/>
          <p:cNvSpPr/>
          <p:nvPr/>
        </p:nvSpPr>
        <p:spPr bwMode="gray">
          <a:xfrm>
            <a:off x="4500148" y="3198466"/>
            <a:ext cx="4689008" cy="244646"/>
          </a:xfrm>
          <a:prstGeom prst="rect">
            <a:avLst/>
          </a:prstGeom>
          <a:noFill/>
          <a:ln w="19050" cmpd="sng">
            <a:solidFill>
              <a:schemeClr val="accent6"/>
            </a:solidFill>
            <a:miter lim="800000"/>
            <a:headEnd/>
            <a:tailEnd/>
          </a:ln>
        </p:spPr>
        <p:txBody>
          <a:bodyPr rtlCol="0" anchor="ctr"/>
          <a:lstStyle/>
          <a:p>
            <a:pPr algn="ct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8" name="Rectangle 7"/>
          <p:cNvSpPr/>
          <p:nvPr/>
        </p:nvSpPr>
        <p:spPr bwMode="gray">
          <a:xfrm>
            <a:off x="4500148" y="4748755"/>
            <a:ext cx="4689008" cy="244646"/>
          </a:xfrm>
          <a:prstGeom prst="rect">
            <a:avLst/>
          </a:prstGeom>
          <a:noFill/>
          <a:ln w="19050" cmpd="sng">
            <a:solidFill>
              <a:schemeClr val="accent6"/>
            </a:solidFill>
            <a:miter lim="800000"/>
            <a:headEnd/>
            <a:tailEnd/>
          </a:ln>
        </p:spPr>
        <p:txBody>
          <a:bodyPr rtlCol="0" anchor="ctr"/>
          <a:lstStyle/>
          <a:p>
            <a:pPr algn="ct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9" name="Rectangular Callout 8"/>
          <p:cNvSpPr/>
          <p:nvPr/>
        </p:nvSpPr>
        <p:spPr bwMode="gray">
          <a:xfrm>
            <a:off x="188082" y="2992964"/>
            <a:ext cx="3206045" cy="677333"/>
          </a:xfrm>
          <a:prstGeom prst="wedgeRectCallout">
            <a:avLst>
              <a:gd name="adj1" fmla="val 84007"/>
              <a:gd name="adj2" fmla="val 3195"/>
            </a:avLst>
          </a:prstGeom>
          <a:noFill/>
          <a:ln w="19050" cmpd="sng">
            <a:solidFill>
              <a:schemeClr val="tx2">
                <a:lumMod val="60000"/>
                <a:lumOff val="40000"/>
              </a:schemeClr>
            </a:solidFill>
            <a:miter lim="800000"/>
            <a:headEnd/>
            <a:tailEnd/>
          </a:ln>
        </p:spPr>
        <p:txBody>
          <a:bodyPr rtlCol="0" anchor="ctr"/>
          <a:lstStyle/>
          <a:p>
            <a:pPr algn="ctr"/>
            <a:r>
              <a:rPr lang="ja-JP" altLang="en-US" sz="1800" dirty="0" smtClean="0">
                <a:solidFill>
                  <a:srgbClr val="33464D"/>
                </a:solidFill>
                <a:latin typeface="Noto Sans CJK JP Medium" charset="-128"/>
                <a:ea typeface="Noto Sans CJK JP Medium" charset="-128"/>
                <a:cs typeface="Noto Sans CJK JP Medium" charset="-128"/>
              </a:rPr>
              <a:t>コアインスタンスグループ</a:t>
            </a:r>
            <a:endParaRPr lang="en-US" altLang="ja-JP" sz="1800" dirty="0" smtClean="0">
              <a:solidFill>
                <a:srgbClr val="33464D"/>
              </a:solidFill>
              <a:latin typeface="Noto Sans CJK JP Medium" charset="-128"/>
              <a:ea typeface="Noto Sans CJK JP Medium" charset="-128"/>
              <a:cs typeface="Noto Sans CJK JP Medium" charset="-128"/>
            </a:endParaRPr>
          </a:p>
          <a:p>
            <a:pPr algn="ctr"/>
            <a:r>
              <a:rPr lang="ja-JP" altLang="en-US" sz="1800" dirty="0" smtClean="0">
                <a:solidFill>
                  <a:srgbClr val="33464D"/>
                </a:solidFill>
                <a:latin typeface="Noto Sans CJK JP Medium" charset="-128"/>
                <a:ea typeface="Noto Sans CJK JP Medium" charset="-128"/>
                <a:cs typeface="Noto Sans CJK JP Medium" charset="-128"/>
              </a:rPr>
              <a:t>のリソース</a:t>
            </a:r>
            <a:endParaRPr lang="en-US" altLang="ja-JP" sz="1800" dirty="0" smtClean="0">
              <a:solidFill>
                <a:srgbClr val="33464D"/>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17664547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タスクインスタンスグループの設定</a:t>
            </a:r>
            <a:endParaRPr lang="en-US" b="0" dirty="0">
              <a:latin typeface="Noto Sans CJK JP Medium" charset="-128"/>
              <a:ea typeface="Noto Sans CJK JP Medium" charset="-128"/>
              <a:cs typeface="Noto Sans CJK JP Medium" charset="-128"/>
            </a:endParaRPr>
          </a:p>
        </p:txBody>
      </p:sp>
      <p:pic>
        <p:nvPicPr>
          <p:cNvPr id="16" name="Content Placeholder 1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668889" y="773289"/>
            <a:ext cx="5752924" cy="5794017"/>
          </a:xfrm>
        </p:spPr>
      </p:pic>
      <p:sp>
        <p:nvSpPr>
          <p:cNvPr id="6" name="Rectangular Callout 5"/>
          <p:cNvSpPr/>
          <p:nvPr/>
        </p:nvSpPr>
        <p:spPr bwMode="gray">
          <a:xfrm>
            <a:off x="188082" y="1089377"/>
            <a:ext cx="3206045" cy="677333"/>
          </a:xfrm>
          <a:prstGeom prst="wedgeRectCallout">
            <a:avLst>
              <a:gd name="adj1" fmla="val 57599"/>
              <a:gd name="adj2" fmla="val 23195"/>
            </a:avLst>
          </a:prstGeom>
          <a:noFill/>
          <a:ln w="19050" cmpd="sng">
            <a:solidFill>
              <a:schemeClr val="tx2">
                <a:lumMod val="60000"/>
                <a:lumOff val="40000"/>
              </a:schemeClr>
            </a:solidFill>
            <a:miter lim="800000"/>
            <a:headEnd/>
            <a:tailEnd/>
          </a:ln>
        </p:spPr>
        <p:txBody>
          <a:bodyPr rtlCol="0" anchor="ctr"/>
          <a:lstStyle/>
          <a:p>
            <a:pPr algn="ctr"/>
            <a:r>
              <a:rPr lang="ja-JP" altLang="en-US" sz="1800" dirty="0" smtClean="0">
                <a:solidFill>
                  <a:srgbClr val="33464D"/>
                </a:solidFill>
                <a:latin typeface="Noto Sans CJK JP Medium" charset="-128"/>
                <a:ea typeface="Noto Sans CJK JP Medium" charset="-128"/>
                <a:cs typeface="Noto Sans CJK JP Medium" charset="-128"/>
              </a:rPr>
              <a:t>タスクインスタンスグループのインスタンスタイプ候補</a:t>
            </a: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7" name="Rectangle 6"/>
          <p:cNvSpPr/>
          <p:nvPr/>
        </p:nvSpPr>
        <p:spPr bwMode="gray">
          <a:xfrm>
            <a:off x="4500148" y="3425651"/>
            <a:ext cx="4689008" cy="244646"/>
          </a:xfrm>
          <a:prstGeom prst="rect">
            <a:avLst/>
          </a:prstGeom>
          <a:noFill/>
          <a:ln w="19050" cmpd="sng">
            <a:solidFill>
              <a:schemeClr val="accent6"/>
            </a:solidFill>
            <a:miter lim="800000"/>
            <a:headEnd/>
            <a:tailEnd/>
          </a:ln>
        </p:spPr>
        <p:txBody>
          <a:bodyPr rtlCol="0" anchor="ctr"/>
          <a:lstStyle/>
          <a:p>
            <a:pPr algn="ct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8" name="Rectangle 7"/>
          <p:cNvSpPr/>
          <p:nvPr/>
        </p:nvSpPr>
        <p:spPr bwMode="gray">
          <a:xfrm>
            <a:off x="4500148" y="4976994"/>
            <a:ext cx="4689008" cy="244646"/>
          </a:xfrm>
          <a:prstGeom prst="rect">
            <a:avLst/>
          </a:prstGeom>
          <a:noFill/>
          <a:ln w="19050" cmpd="sng">
            <a:solidFill>
              <a:schemeClr val="accent6"/>
            </a:solidFill>
            <a:miter lim="800000"/>
            <a:headEnd/>
            <a:tailEnd/>
          </a:ln>
        </p:spPr>
        <p:txBody>
          <a:bodyPr rtlCol="0" anchor="ctr"/>
          <a:lstStyle/>
          <a:p>
            <a:pPr algn="ct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9" name="Rectangular Callout 8"/>
          <p:cNvSpPr/>
          <p:nvPr/>
        </p:nvSpPr>
        <p:spPr bwMode="gray">
          <a:xfrm>
            <a:off x="188082" y="3209307"/>
            <a:ext cx="3206045" cy="677333"/>
          </a:xfrm>
          <a:prstGeom prst="wedgeRectCallout">
            <a:avLst>
              <a:gd name="adj1" fmla="val 84007"/>
              <a:gd name="adj2" fmla="val 3195"/>
            </a:avLst>
          </a:prstGeom>
          <a:noFill/>
          <a:ln w="19050" cmpd="sng">
            <a:solidFill>
              <a:schemeClr val="tx2">
                <a:lumMod val="60000"/>
                <a:lumOff val="40000"/>
              </a:schemeClr>
            </a:solidFill>
            <a:miter lim="800000"/>
            <a:headEnd/>
            <a:tailEnd/>
          </a:ln>
        </p:spPr>
        <p:txBody>
          <a:bodyPr rtlCol="0" anchor="ctr"/>
          <a:lstStyle/>
          <a:p>
            <a:pPr algn="ctr"/>
            <a:r>
              <a:rPr lang="ja-JP" altLang="en-US" sz="1800" dirty="0" smtClean="0">
                <a:solidFill>
                  <a:srgbClr val="33464D"/>
                </a:solidFill>
                <a:latin typeface="Noto Sans CJK JP Medium" charset="-128"/>
                <a:ea typeface="Noto Sans CJK JP Medium" charset="-128"/>
                <a:cs typeface="Noto Sans CJK JP Medium" charset="-128"/>
              </a:rPr>
              <a:t>タスクインスタンスグループ</a:t>
            </a:r>
            <a:endParaRPr lang="en-US" altLang="ja-JP" sz="1800" dirty="0" smtClean="0">
              <a:solidFill>
                <a:srgbClr val="33464D"/>
              </a:solidFill>
              <a:latin typeface="Noto Sans CJK JP Medium" charset="-128"/>
              <a:ea typeface="Noto Sans CJK JP Medium" charset="-128"/>
              <a:cs typeface="Noto Sans CJK JP Medium" charset="-128"/>
            </a:endParaRPr>
          </a:p>
          <a:p>
            <a:pPr algn="ctr"/>
            <a:r>
              <a:rPr lang="ja-JP" altLang="en-US" sz="1800" dirty="0" smtClean="0">
                <a:solidFill>
                  <a:srgbClr val="33464D"/>
                </a:solidFill>
                <a:latin typeface="Noto Sans CJK JP Medium" charset="-128"/>
                <a:ea typeface="Noto Sans CJK JP Medium" charset="-128"/>
                <a:cs typeface="Noto Sans CJK JP Medium" charset="-128"/>
              </a:rPr>
              <a:t>のリソース</a:t>
            </a:r>
            <a:endParaRPr lang="en-US" altLang="ja-JP" sz="1800" dirty="0" smtClean="0">
              <a:solidFill>
                <a:srgbClr val="33464D"/>
              </a:solidFill>
              <a:latin typeface="Noto Sans CJK JP Medium" charset="-128"/>
              <a:ea typeface="Noto Sans CJK JP Medium" charset="-128"/>
              <a:cs typeface="Noto Sans CJK JP Medium" charset="-128"/>
            </a:endParaRPr>
          </a:p>
        </p:txBody>
      </p:sp>
      <p:sp>
        <p:nvSpPr>
          <p:cNvPr id="10" name="Rectangle 9"/>
          <p:cNvSpPr/>
          <p:nvPr/>
        </p:nvSpPr>
        <p:spPr bwMode="gray">
          <a:xfrm>
            <a:off x="3680178" y="1461909"/>
            <a:ext cx="5644444" cy="196519"/>
          </a:xfrm>
          <a:prstGeom prst="rect">
            <a:avLst/>
          </a:prstGeom>
          <a:noFill/>
          <a:ln w="19050" cmpd="sng">
            <a:solidFill>
              <a:schemeClr val="accent6"/>
            </a:solidFill>
            <a:miter lim="800000"/>
            <a:headEnd/>
            <a:tailEnd/>
          </a:ln>
        </p:spPr>
        <p:txBody>
          <a:bodyPr rtlCol="0" anchor="ctr"/>
          <a:lstStyle/>
          <a:p>
            <a:pPr algn="ctr"/>
            <a:endParaRPr lang="en-US" sz="1800" dirty="0" smtClean="0">
              <a:solidFill>
                <a:srgbClr val="33464D"/>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12332585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b="0" dirty="0" smtClean="0">
                <a:latin typeface="Noto Sans CJK JP Medium" charset="-128"/>
                <a:ea typeface="Noto Sans CJK JP Medium" charset="-128"/>
                <a:cs typeface="Noto Sans CJK JP Medium" charset="-128"/>
              </a:rPr>
              <a:t>自己紹介</a:t>
            </a:r>
            <a:endParaRPr kumimoji="1" lang="ja-JP" altLang="en-US" b="0" dirty="0">
              <a:latin typeface="Noto Sans CJK JP Medium" charset="-128"/>
              <a:ea typeface="Noto Sans CJK JP Medium" charset="-128"/>
              <a:cs typeface="Noto Sans CJK JP Medium" charset="-128"/>
            </a:endParaRPr>
          </a:p>
        </p:txBody>
      </p:sp>
      <p:sp>
        <p:nvSpPr>
          <p:cNvPr id="3" name="コンテンツ プレースホルダー 2"/>
          <p:cNvSpPr>
            <a:spLocks noGrp="1"/>
          </p:cNvSpPr>
          <p:nvPr>
            <p:ph idx="1"/>
          </p:nvPr>
        </p:nvSpPr>
        <p:spPr>
          <a:xfrm>
            <a:off x="381000" y="784579"/>
            <a:ext cx="9120188" cy="761999"/>
          </a:xfrm>
        </p:spPr>
        <p:txBody>
          <a:bodyPr/>
          <a:lstStyle/>
          <a:p>
            <a:r>
              <a:rPr kumimoji="1" lang="ja-JP" altLang="en-US" sz="2400" b="0" dirty="0" smtClean="0">
                <a:latin typeface="Noto Sans CJK JP Medium" charset="-128"/>
                <a:ea typeface="Noto Sans CJK JP Medium" charset="-128"/>
                <a:cs typeface="Noto Sans CJK JP Medium" charset="-128"/>
              </a:rPr>
              <a:t>氏名</a:t>
            </a:r>
            <a:endParaRPr kumimoji="1" lang="en-US" altLang="ja-JP" sz="2400" b="0" dirty="0" smtClean="0">
              <a:latin typeface="Noto Sans CJK JP Medium" charset="-128"/>
              <a:ea typeface="Noto Sans CJK JP Medium" charset="-128"/>
              <a:cs typeface="Noto Sans CJK JP Medium" charset="-128"/>
            </a:endParaRPr>
          </a:p>
        </p:txBody>
      </p:sp>
      <p:sp>
        <p:nvSpPr>
          <p:cNvPr id="5" name="コンテンツ プレースホルダー 2"/>
          <p:cNvSpPr txBox="1">
            <a:spLocks/>
          </p:cNvSpPr>
          <p:nvPr/>
        </p:nvSpPr>
        <p:spPr bwMode="auto">
          <a:xfrm>
            <a:off x="3699339" y="785171"/>
            <a:ext cx="9120188"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2400" b="0" dirty="0" smtClean="0">
                <a:latin typeface="Noto Sans CJK JP Medium" charset="-128"/>
                <a:ea typeface="Noto Sans CJK JP Medium" charset="-128"/>
                <a:cs typeface="Noto Sans CJK JP Medium" charset="-128"/>
              </a:rPr>
              <a:t>荻原</a:t>
            </a:r>
            <a:r>
              <a:rPr lang="en-US" altLang="ja-JP" sz="2400" b="0" dirty="0">
                <a:latin typeface="Noto Sans CJK JP Medium" charset="-128"/>
                <a:ea typeface="Noto Sans CJK JP Medium" charset="-128"/>
                <a:cs typeface="Noto Sans CJK JP Medium" charset="-128"/>
              </a:rPr>
              <a:t> </a:t>
            </a:r>
            <a:r>
              <a:rPr lang="ja-JP" altLang="en-US" sz="2400" b="0" dirty="0" smtClean="0">
                <a:latin typeface="Noto Sans CJK JP Medium" charset="-128"/>
                <a:ea typeface="Noto Sans CJK JP Medium" charset="-128"/>
                <a:cs typeface="Noto Sans CJK JP Medium" charset="-128"/>
              </a:rPr>
              <a:t>啓介（おぎわら</a:t>
            </a:r>
            <a:r>
              <a:rPr lang="en-US" altLang="ja-JP" sz="2400" b="0" dirty="0" smtClean="0">
                <a:latin typeface="Noto Sans CJK JP Medium" charset="-128"/>
                <a:ea typeface="Noto Sans CJK JP Medium" charset="-128"/>
                <a:cs typeface="Noto Sans CJK JP Medium" charset="-128"/>
              </a:rPr>
              <a:t> </a:t>
            </a:r>
            <a:r>
              <a:rPr lang="ja-JP" altLang="en-US" sz="2400" b="0" dirty="0" smtClean="0">
                <a:latin typeface="Noto Sans CJK JP Medium" charset="-128"/>
                <a:ea typeface="Noto Sans CJK JP Medium" charset="-128"/>
                <a:cs typeface="Noto Sans CJK JP Medium" charset="-128"/>
              </a:rPr>
              <a:t>けいすけ）</a:t>
            </a:r>
            <a:endParaRPr lang="en-US" altLang="ja-JP" sz="2400" b="0" dirty="0" smtClean="0">
              <a:latin typeface="Noto Sans CJK JP Medium" charset="-128"/>
              <a:ea typeface="Noto Sans CJK JP Medium" charset="-128"/>
              <a:cs typeface="Noto Sans CJK JP Medium" charset="-128"/>
            </a:endParaRPr>
          </a:p>
        </p:txBody>
      </p:sp>
      <p:sp>
        <p:nvSpPr>
          <p:cNvPr id="6" name="コンテンツ プレースホルダー 2"/>
          <p:cNvSpPr txBox="1">
            <a:spLocks/>
          </p:cNvSpPr>
          <p:nvPr/>
        </p:nvSpPr>
        <p:spPr bwMode="auto">
          <a:xfrm>
            <a:off x="381000" y="1545239"/>
            <a:ext cx="9120188"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r>
              <a:rPr lang="ja-JP" altLang="en-US" sz="2400" b="0" dirty="0" smtClean="0">
                <a:latin typeface="Noto Sans CJK JP Medium" charset="-128"/>
                <a:ea typeface="Noto Sans CJK JP Medium" charset="-128"/>
                <a:cs typeface="Noto Sans CJK JP Medium" charset="-128"/>
              </a:rPr>
              <a:t>年齢</a:t>
            </a:r>
            <a:endParaRPr lang="en-US" altLang="ja-JP" sz="2400" b="0" dirty="0" smtClean="0">
              <a:latin typeface="Noto Sans CJK JP Medium" charset="-128"/>
              <a:ea typeface="Noto Sans CJK JP Medium" charset="-128"/>
              <a:cs typeface="Noto Sans CJK JP Medium" charset="-128"/>
            </a:endParaRPr>
          </a:p>
        </p:txBody>
      </p:sp>
      <p:sp>
        <p:nvSpPr>
          <p:cNvPr id="7" name="コンテンツ プレースホルダー 2"/>
          <p:cNvSpPr txBox="1">
            <a:spLocks/>
          </p:cNvSpPr>
          <p:nvPr/>
        </p:nvSpPr>
        <p:spPr bwMode="auto">
          <a:xfrm>
            <a:off x="3699339" y="1545239"/>
            <a:ext cx="9120188"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en-US" altLang="en-US" sz="2400" b="0" dirty="0" smtClean="0">
                <a:latin typeface="Noto Sans CJK JP Medium" charset="-128"/>
                <a:ea typeface="Noto Sans CJK JP Medium" charset="-128"/>
                <a:cs typeface="Noto Sans CJK JP Medium" charset="-128"/>
              </a:rPr>
              <a:t>29</a:t>
            </a:r>
            <a:r>
              <a:rPr lang="ja-JP" altLang="en-US" sz="2400" b="0" dirty="0" smtClean="0">
                <a:latin typeface="Noto Sans CJK JP Medium" charset="-128"/>
                <a:ea typeface="Noto Sans CJK JP Medium" charset="-128"/>
                <a:cs typeface="Noto Sans CJK JP Medium" charset="-128"/>
              </a:rPr>
              <a:t>歳</a:t>
            </a:r>
            <a:endParaRPr lang="en-US" altLang="ja-JP" sz="2400" b="0" dirty="0" smtClean="0">
              <a:latin typeface="Noto Sans CJK JP Medium" charset="-128"/>
              <a:ea typeface="Noto Sans CJK JP Medium" charset="-128"/>
              <a:cs typeface="Noto Sans CJK JP Medium" charset="-128"/>
            </a:endParaRPr>
          </a:p>
        </p:txBody>
      </p:sp>
      <p:sp>
        <p:nvSpPr>
          <p:cNvPr id="8" name="コンテンツ プレースホルダー 2"/>
          <p:cNvSpPr txBox="1">
            <a:spLocks/>
          </p:cNvSpPr>
          <p:nvPr/>
        </p:nvSpPr>
        <p:spPr bwMode="auto">
          <a:xfrm>
            <a:off x="381000" y="2312730"/>
            <a:ext cx="9120188"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r>
              <a:rPr lang="ja-JP" altLang="en-US" sz="2400" b="0" dirty="0" smtClean="0">
                <a:latin typeface="Noto Sans CJK JP Medium" charset="-128"/>
                <a:ea typeface="Noto Sans CJK JP Medium" charset="-128"/>
                <a:cs typeface="Noto Sans CJK JP Medium" charset="-128"/>
              </a:rPr>
              <a:t>出身</a:t>
            </a:r>
            <a:endParaRPr lang="en-US" altLang="ja-JP" sz="2400" b="0" dirty="0" smtClean="0">
              <a:latin typeface="Noto Sans CJK JP Medium" charset="-128"/>
              <a:ea typeface="Noto Sans CJK JP Medium" charset="-128"/>
              <a:cs typeface="Noto Sans CJK JP Medium" charset="-128"/>
            </a:endParaRPr>
          </a:p>
        </p:txBody>
      </p:sp>
      <p:sp>
        <p:nvSpPr>
          <p:cNvPr id="9" name="コンテンツ プレースホルダー 2"/>
          <p:cNvSpPr txBox="1">
            <a:spLocks/>
          </p:cNvSpPr>
          <p:nvPr/>
        </p:nvSpPr>
        <p:spPr bwMode="auto">
          <a:xfrm>
            <a:off x="3699339" y="2305307"/>
            <a:ext cx="9120188"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2400" b="0" dirty="0" smtClean="0">
                <a:latin typeface="Noto Sans CJK JP Medium" charset="-128"/>
                <a:ea typeface="Noto Sans CJK JP Medium" charset="-128"/>
                <a:cs typeface="Noto Sans CJK JP Medium" charset="-128"/>
              </a:rPr>
              <a:t>神奈川県鎌倉市</a:t>
            </a:r>
            <a:endParaRPr lang="en-US" altLang="ja-JP" sz="2400" b="0" dirty="0" smtClean="0">
              <a:latin typeface="Noto Sans CJK JP Medium" charset="-128"/>
              <a:ea typeface="Noto Sans CJK JP Medium" charset="-128"/>
              <a:cs typeface="Noto Sans CJK JP Medium" charset="-128"/>
            </a:endParaRPr>
          </a:p>
        </p:txBody>
      </p:sp>
      <p:sp>
        <p:nvSpPr>
          <p:cNvPr id="11" name="コンテンツ プレースホルダー 2"/>
          <p:cNvSpPr txBox="1">
            <a:spLocks/>
          </p:cNvSpPr>
          <p:nvPr/>
        </p:nvSpPr>
        <p:spPr bwMode="auto">
          <a:xfrm>
            <a:off x="381000" y="3063444"/>
            <a:ext cx="9120188"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endParaRPr lang="en-US" altLang="ja-JP" sz="2400" b="0" dirty="0" smtClean="0">
              <a:latin typeface="Noto Sans CJK JP Medium" charset="-128"/>
              <a:ea typeface="Noto Sans CJK JP Medium" charset="-128"/>
              <a:cs typeface="Noto Sans CJK JP Medium" charset="-128"/>
            </a:endParaRPr>
          </a:p>
        </p:txBody>
      </p:sp>
      <p:sp>
        <p:nvSpPr>
          <p:cNvPr id="12" name="コンテンツ プレースホルダー 2"/>
          <p:cNvSpPr txBox="1">
            <a:spLocks/>
          </p:cNvSpPr>
          <p:nvPr/>
        </p:nvSpPr>
        <p:spPr bwMode="auto">
          <a:xfrm>
            <a:off x="381000" y="3056021"/>
            <a:ext cx="9120188"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r>
              <a:rPr lang="ja-JP" altLang="en-US" sz="2400" b="0" dirty="0" smtClean="0">
                <a:latin typeface="Noto Sans CJK JP Medium" charset="-128"/>
                <a:ea typeface="Noto Sans CJK JP Medium" charset="-128"/>
                <a:cs typeface="Noto Sans CJK JP Medium" charset="-128"/>
              </a:rPr>
              <a:t>趣味</a:t>
            </a:r>
            <a:endParaRPr lang="en-US" altLang="ja-JP" sz="2400" b="0" dirty="0" smtClean="0">
              <a:latin typeface="Noto Sans CJK JP Medium" charset="-128"/>
              <a:ea typeface="Noto Sans CJK JP Medium" charset="-128"/>
              <a:cs typeface="Noto Sans CJK JP Medium" charset="-128"/>
            </a:endParaRPr>
          </a:p>
        </p:txBody>
      </p:sp>
      <p:sp>
        <p:nvSpPr>
          <p:cNvPr id="13" name="コンテンツ プレースホルダー 2"/>
          <p:cNvSpPr txBox="1">
            <a:spLocks/>
          </p:cNvSpPr>
          <p:nvPr/>
        </p:nvSpPr>
        <p:spPr bwMode="auto">
          <a:xfrm>
            <a:off x="3699339" y="3074729"/>
            <a:ext cx="9120188"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ja-JP" altLang="en-US" sz="2400" b="0" dirty="0" smtClean="0">
                <a:latin typeface="Noto Sans CJK JP Medium" charset="-128"/>
                <a:ea typeface="Noto Sans CJK JP Medium" charset="-128"/>
                <a:cs typeface="Noto Sans CJK JP Medium" charset="-128"/>
              </a:rPr>
              <a:t>テニス</a:t>
            </a:r>
            <a:endParaRPr lang="en-US" altLang="ja-JP" sz="2400" b="0" dirty="0" smtClean="0">
              <a:latin typeface="Noto Sans CJK JP Medium" charset="-128"/>
              <a:ea typeface="Noto Sans CJK JP Medium" charset="-128"/>
              <a:cs typeface="Noto Sans CJK JP Medium" charset="-128"/>
            </a:endParaRPr>
          </a:p>
          <a:p>
            <a:pPr marL="0" marR="0" lvl="0" indent="0" defTabSz="914400" eaLnBrk="1" fontAlgn="auto" latinLnBrk="0" hangingPunct="1">
              <a:lnSpc>
                <a:spcPct val="100000"/>
              </a:lnSpc>
              <a:spcBef>
                <a:spcPts val="0"/>
              </a:spcBef>
              <a:spcAft>
                <a:spcPts val="0"/>
              </a:spcAft>
              <a:buClrTx/>
              <a:buSzTx/>
              <a:buFontTx/>
              <a:buNone/>
              <a:tabLst/>
              <a:defRPr/>
            </a:pPr>
            <a:r>
              <a:rPr lang="ja-JP" altLang="en-US" sz="2400" b="0" dirty="0" smtClean="0">
                <a:latin typeface="Noto Sans CJK JP Medium" charset="-128"/>
                <a:ea typeface="Noto Sans CJK JP Medium" charset="-128"/>
                <a:cs typeface="Noto Sans CJK JP Medium" charset="-128"/>
              </a:rPr>
              <a:t>日本酒巡りの旅</a:t>
            </a:r>
            <a:endParaRPr lang="en-US" altLang="ja-JP" sz="2400" b="0" dirty="0" smtClean="0">
              <a:latin typeface="Noto Sans CJK JP Medium" charset="-128"/>
              <a:ea typeface="Noto Sans CJK JP Medium" charset="-128"/>
              <a:cs typeface="Noto Sans CJK JP Medium" charset="-128"/>
            </a:endParaRPr>
          </a:p>
        </p:txBody>
      </p:sp>
      <p:pic>
        <p:nvPicPr>
          <p:cNvPr id="16" name="Picture 15"/>
          <p:cNvPicPr>
            <a:picLocks noChangeAspect="1"/>
          </p:cNvPicPr>
          <p:nvPr/>
        </p:nvPicPr>
        <p:blipFill>
          <a:blip r:embed="rId2"/>
          <a:stretch>
            <a:fillRect/>
          </a:stretch>
        </p:blipFill>
        <p:spPr>
          <a:xfrm>
            <a:off x="6750754" y="3080221"/>
            <a:ext cx="2394303" cy="3192404"/>
          </a:xfrm>
          <a:prstGeom prst="rect">
            <a:avLst/>
          </a:prstGeom>
        </p:spPr>
      </p:pic>
      <p:sp>
        <p:nvSpPr>
          <p:cNvPr id="18" name="コンテンツ プレースホルダー 2"/>
          <p:cNvSpPr txBox="1">
            <a:spLocks/>
          </p:cNvSpPr>
          <p:nvPr/>
        </p:nvSpPr>
        <p:spPr bwMode="auto">
          <a:xfrm>
            <a:off x="381000" y="3830935"/>
            <a:ext cx="9120188"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r>
              <a:rPr lang="ja-JP" altLang="en-US" sz="2400" b="0" dirty="0" smtClean="0">
                <a:latin typeface="Noto Sans CJK JP Medium" charset="-128"/>
                <a:ea typeface="Noto Sans CJK JP Medium" charset="-128"/>
                <a:cs typeface="Noto Sans CJK JP Medium" charset="-128"/>
              </a:rPr>
              <a:t>その他</a:t>
            </a:r>
            <a:endParaRPr lang="en-US" altLang="ja-JP" sz="2400" b="0" dirty="0" smtClean="0">
              <a:latin typeface="Noto Sans CJK JP Medium" charset="-128"/>
              <a:ea typeface="Noto Sans CJK JP Medium" charset="-128"/>
              <a:cs typeface="Noto Sans CJK JP Medium" charset="-128"/>
            </a:endParaRPr>
          </a:p>
        </p:txBody>
      </p:sp>
      <p:sp>
        <p:nvSpPr>
          <p:cNvPr id="19" name="Rectangular Callout 18"/>
          <p:cNvSpPr/>
          <p:nvPr/>
        </p:nvSpPr>
        <p:spPr bwMode="gray">
          <a:xfrm>
            <a:off x="180623" y="5238044"/>
            <a:ext cx="2032704" cy="745067"/>
          </a:xfrm>
          <a:prstGeom prst="wedgeRectCallout">
            <a:avLst>
              <a:gd name="adj1" fmla="val -714"/>
              <a:gd name="adj2" fmla="val -176765"/>
            </a:avLst>
          </a:prstGeom>
          <a:noFill/>
          <a:ln w="19050" cmpd="sng">
            <a:solidFill>
              <a:schemeClr val="accent1"/>
            </a:solidFill>
            <a:miter lim="800000"/>
            <a:headEnd/>
            <a:tailEnd/>
          </a:ln>
        </p:spPr>
        <p:txBody>
          <a:bodyPr rtlCol="0" anchor="ctr"/>
          <a:lstStyle/>
          <a:p>
            <a:pPr algn="ctr"/>
            <a:r>
              <a:rPr lang="en-US" altLang="ja-JP" sz="1800" dirty="0" smtClean="0">
                <a:solidFill>
                  <a:srgbClr val="33464D"/>
                </a:solidFill>
                <a:latin typeface="Noto Sans CJK JP Medium" charset="-128"/>
                <a:ea typeface="Noto Sans CJK JP Medium" charset="-128"/>
                <a:cs typeface="Noto Sans CJK JP Medium" charset="-128"/>
              </a:rPr>
              <a:t>Apple</a:t>
            </a:r>
            <a:r>
              <a:rPr lang="ja-JP" altLang="en-US" sz="1800" dirty="0" smtClean="0">
                <a:solidFill>
                  <a:srgbClr val="33464D"/>
                </a:solidFill>
                <a:latin typeface="Noto Sans CJK JP Medium" charset="-128"/>
                <a:ea typeface="Noto Sans CJK JP Medium" charset="-128"/>
                <a:cs typeface="Noto Sans CJK JP Medium" charset="-128"/>
              </a:rPr>
              <a:t>信者です！</a:t>
            </a: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21" name="Rectangular Callout 20"/>
          <p:cNvSpPr/>
          <p:nvPr/>
        </p:nvSpPr>
        <p:spPr bwMode="gray">
          <a:xfrm>
            <a:off x="2908389" y="5238043"/>
            <a:ext cx="2668321" cy="745067"/>
          </a:xfrm>
          <a:prstGeom prst="wedgeRectCallout">
            <a:avLst>
              <a:gd name="adj1" fmla="val -93116"/>
              <a:gd name="adj2" fmla="val -184340"/>
            </a:avLst>
          </a:prstGeom>
          <a:noFill/>
          <a:ln w="19050" cmpd="sng">
            <a:solidFill>
              <a:schemeClr val="accent1"/>
            </a:solidFill>
            <a:miter lim="800000"/>
            <a:headEnd/>
            <a:tailEnd/>
          </a:ln>
        </p:spPr>
        <p:txBody>
          <a:bodyPr rtlCol="0" anchor="ctr"/>
          <a:lstStyle/>
          <a:p>
            <a:pPr algn="ctr"/>
            <a:r>
              <a:rPr lang="en-US" sz="1600" dirty="0" smtClean="0">
                <a:solidFill>
                  <a:srgbClr val="33464D"/>
                </a:solidFill>
                <a:latin typeface="Noto Sans CJK JP Medium" charset="-128"/>
                <a:ea typeface="Noto Sans CJK JP Medium" charset="-128"/>
                <a:cs typeface="Noto Sans CJK JP Medium" charset="-128"/>
              </a:rPr>
              <a:t>Hadoop</a:t>
            </a:r>
            <a:r>
              <a:rPr lang="ja-JP" altLang="en-US" sz="1600" dirty="0" smtClean="0">
                <a:solidFill>
                  <a:srgbClr val="33464D"/>
                </a:solidFill>
                <a:latin typeface="Noto Sans CJK JP Medium" charset="-128"/>
                <a:ea typeface="Noto Sans CJK JP Medium" charset="-128"/>
                <a:cs typeface="Noto Sans CJK JP Medium" charset="-128"/>
              </a:rPr>
              <a:t>コントリビュータやってます！</a:t>
            </a:r>
            <a:endParaRPr lang="en-US" sz="1600" dirty="0" smtClean="0">
              <a:solidFill>
                <a:srgbClr val="33464D"/>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64081816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タスクインスタンスグループとは</a:t>
            </a:r>
            <a:endParaRPr lang="en-US" b="0" dirty="0">
              <a:latin typeface="Noto Sans CJK JP Medium" charset="-128"/>
              <a:ea typeface="Noto Sans CJK JP Medium" charset="-128"/>
              <a:cs typeface="Noto Sans CJK JP Medium" charset="-128"/>
            </a:endParaRPr>
          </a:p>
        </p:txBody>
      </p:sp>
      <p:sp>
        <p:nvSpPr>
          <p:cNvPr id="3" name="Content Placeholder 2"/>
          <p:cNvSpPr>
            <a:spLocks noGrp="1"/>
          </p:cNvSpPr>
          <p:nvPr>
            <p:ph idx="1"/>
          </p:nvPr>
        </p:nvSpPr>
        <p:spPr/>
        <p:txBody>
          <a:bodyPr/>
          <a:lstStyle/>
          <a:p>
            <a:r>
              <a:rPr lang="ja-JP" altLang="en-US" sz="2400" b="0" dirty="0" smtClean="0">
                <a:latin typeface="Noto Sans CJK JP Medium" charset="-128"/>
                <a:ea typeface="Noto Sans CJK JP Medium" charset="-128"/>
                <a:cs typeface="Noto Sans CJK JP Medium" charset="-128"/>
              </a:rPr>
              <a:t>複数のインスタンスから構成される。</a:t>
            </a:r>
            <a:endParaRPr lang="en-US" altLang="ja-JP" sz="2400" b="0" dirty="0" smtClean="0">
              <a:latin typeface="Noto Sans CJK JP Medium" charset="-128"/>
              <a:ea typeface="Noto Sans CJK JP Medium" charset="-128"/>
              <a:cs typeface="Noto Sans CJK JP Medium" charset="-128"/>
            </a:endParaRPr>
          </a:p>
          <a:p>
            <a:endParaRPr lang="en-US" altLang="ja-JP" sz="2400" b="0" dirty="0">
              <a:latin typeface="Noto Sans CJK JP Medium" charset="-128"/>
              <a:ea typeface="Noto Sans CJK JP Medium" charset="-128"/>
              <a:cs typeface="Noto Sans CJK JP Medium" charset="-128"/>
            </a:endParaRPr>
          </a:p>
          <a:p>
            <a:r>
              <a:rPr lang="en-US" altLang="ja-JP" sz="2400" b="0" dirty="0" smtClean="0">
                <a:latin typeface="Noto Sans CJK JP Medium" charset="-128"/>
                <a:ea typeface="Noto Sans CJK JP Medium" charset="-128"/>
                <a:cs typeface="Noto Sans CJK JP Medium" charset="-128"/>
              </a:rPr>
              <a:t>Mapper, Reducer</a:t>
            </a:r>
            <a:r>
              <a:rPr lang="ja-JP" altLang="en-US" sz="2400" b="0" dirty="0" smtClean="0">
                <a:latin typeface="Noto Sans CJK JP Medium" charset="-128"/>
                <a:ea typeface="Noto Sans CJK JP Medium" charset="-128"/>
                <a:cs typeface="Noto Sans CJK JP Medium" charset="-128"/>
              </a:rPr>
              <a:t>タスクを実行する。</a:t>
            </a:r>
            <a:endParaRPr lang="en-US" altLang="ja-JP" sz="2400" b="0" dirty="0" smtClean="0">
              <a:latin typeface="Noto Sans CJK JP Medium" charset="-128"/>
              <a:ea typeface="Noto Sans CJK JP Medium" charset="-128"/>
              <a:cs typeface="Noto Sans CJK JP Medium" charset="-128"/>
            </a:endParaRPr>
          </a:p>
          <a:p>
            <a:endParaRPr lang="en-US" altLang="ja-JP" sz="2400" b="0" dirty="0">
              <a:latin typeface="Noto Sans CJK JP Medium" charset="-128"/>
              <a:ea typeface="Noto Sans CJK JP Medium" charset="-128"/>
              <a:cs typeface="Noto Sans CJK JP Medium" charset="-128"/>
            </a:endParaRPr>
          </a:p>
          <a:p>
            <a:r>
              <a:rPr lang="en-US" altLang="ja-JP" sz="2400" b="0" dirty="0" smtClean="0">
                <a:latin typeface="Noto Sans CJK JP Medium" charset="-128"/>
                <a:ea typeface="Noto Sans CJK JP Medium" charset="-128"/>
                <a:cs typeface="Noto Sans CJK JP Medium" charset="-128"/>
              </a:rPr>
              <a:t>HDFS</a:t>
            </a:r>
            <a:r>
              <a:rPr lang="ja-JP" altLang="en-US" sz="2400" b="0" dirty="0" smtClean="0">
                <a:latin typeface="Noto Sans CJK JP Medium" charset="-128"/>
                <a:ea typeface="Noto Sans CJK JP Medium" charset="-128"/>
                <a:cs typeface="Noto Sans CJK JP Medium" charset="-128"/>
              </a:rPr>
              <a:t>を構成するインスタンスには含まれない。</a:t>
            </a:r>
            <a:endParaRPr lang="en-US" altLang="ja-JP" sz="2400" b="0" dirty="0" smtClean="0">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12197502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落とされるリスクの設定</a:t>
            </a:r>
            <a:endParaRPr lang="en-US" b="0" dirty="0">
              <a:latin typeface="Noto Sans CJK JP Medium" charset="-128"/>
              <a:ea typeface="Noto Sans CJK JP Medium" charset="-128"/>
              <a:cs typeface="Noto Sans CJK JP Medium" charset="-128"/>
            </a:endParaRP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31099" y="876563"/>
            <a:ext cx="5491428" cy="274571"/>
          </a:xfrm>
        </p:spPr>
      </p:pic>
      <p:sp>
        <p:nvSpPr>
          <p:cNvPr id="6" name="Rectangle 5"/>
          <p:cNvSpPr/>
          <p:nvPr/>
        </p:nvSpPr>
        <p:spPr bwMode="gray">
          <a:xfrm>
            <a:off x="6096000" y="876563"/>
            <a:ext cx="1626527" cy="274571"/>
          </a:xfrm>
          <a:prstGeom prst="rect">
            <a:avLst/>
          </a:prstGeom>
          <a:noFill/>
          <a:ln w="19050" cmpd="sng">
            <a:solidFill>
              <a:schemeClr val="accent6"/>
            </a:solidFill>
            <a:miter lim="800000"/>
            <a:headEnd/>
            <a:tailEnd/>
          </a:ln>
        </p:spPr>
        <p:txBody>
          <a:bodyPr rtlCol="0" anchor="ctr"/>
          <a:lstStyle/>
          <a:p>
            <a:pPr algn="ct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8" name="Rectangular Callout 7"/>
          <p:cNvSpPr/>
          <p:nvPr/>
        </p:nvSpPr>
        <p:spPr bwMode="gray">
          <a:xfrm>
            <a:off x="959556" y="1636890"/>
            <a:ext cx="7563555" cy="587022"/>
          </a:xfrm>
          <a:prstGeom prst="wedgeRectCallout">
            <a:avLst>
              <a:gd name="adj1" fmla="val 28367"/>
              <a:gd name="adj2" fmla="val -130068"/>
            </a:avLst>
          </a:prstGeom>
          <a:noFill/>
          <a:ln w="19050" cmpd="sng">
            <a:solidFill>
              <a:schemeClr val="tx2">
                <a:lumMod val="60000"/>
                <a:lumOff val="40000"/>
              </a:schemeClr>
            </a:solidFill>
            <a:miter lim="800000"/>
            <a:headEnd/>
            <a:tailEnd/>
          </a:ln>
        </p:spPr>
        <p:txBody>
          <a:bodyPr rtlCol="0" anchor="ctr"/>
          <a:lstStyle/>
          <a:p>
            <a:r>
              <a:rPr lang="ja-JP" altLang="en-US" sz="2000" kern="0" dirty="0">
                <a:solidFill>
                  <a:schemeClr val="accent6"/>
                </a:solidFill>
                <a:latin typeface="Noto Sans CJK JP Medium" charset="-128"/>
                <a:ea typeface="Noto Sans CJK JP Medium" charset="-128"/>
                <a:cs typeface="Noto Sans CJK JP Medium" charset="-128"/>
              </a:rPr>
              <a:t>スポット入札アドバイザーの</a:t>
            </a:r>
            <a:r>
              <a:rPr lang="en-US" altLang="ja-JP" sz="2000" kern="0" dirty="0">
                <a:solidFill>
                  <a:schemeClr val="accent6"/>
                </a:solidFill>
                <a:latin typeface="Noto Sans CJK JP Medium" charset="-128"/>
                <a:ea typeface="Noto Sans CJK JP Medium" charset="-128"/>
                <a:cs typeface="Noto Sans CJK JP Medium" charset="-128"/>
              </a:rPr>
              <a:t>Frequency of being outbid (week)</a:t>
            </a:r>
          </a:p>
        </p:txBody>
      </p:sp>
    </p:spTree>
    <p:extLst>
      <p:ext uri="{BB962C8B-B14F-4D97-AF65-F5344CB8AC3E}">
        <p14:creationId xmlns:p14="http://schemas.microsoft.com/office/powerpoint/2010/main" val="73532738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a:latin typeface="Noto Sans CJK JP Medium" charset="-128"/>
                <a:ea typeface="Noto Sans CJK JP Medium" charset="-128"/>
                <a:cs typeface="Noto Sans CJK JP Medium" charset="-128"/>
              </a:rPr>
              <a:t>落とされるリスクの設定</a:t>
            </a:r>
            <a:endParaRPr lang="en-US" b="0" dirty="0">
              <a:latin typeface="Noto Sans CJK JP Medium" charset="-128"/>
              <a:ea typeface="Noto Sans CJK JP Medium" charset="-128"/>
              <a:cs typeface="Noto Sans CJK JP Medium" charset="-128"/>
            </a:endParaRPr>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31099" y="876563"/>
            <a:ext cx="5491428" cy="274571"/>
          </a:xfrm>
        </p:spPr>
      </p:pic>
      <p:sp>
        <p:nvSpPr>
          <p:cNvPr id="6" name="Rectangle 5"/>
          <p:cNvSpPr/>
          <p:nvPr/>
        </p:nvSpPr>
        <p:spPr bwMode="gray">
          <a:xfrm>
            <a:off x="6096000" y="876563"/>
            <a:ext cx="1626527" cy="274571"/>
          </a:xfrm>
          <a:prstGeom prst="rect">
            <a:avLst/>
          </a:prstGeom>
          <a:noFill/>
          <a:ln w="19050" cmpd="sng">
            <a:solidFill>
              <a:schemeClr val="accent6"/>
            </a:solidFill>
            <a:miter lim="800000"/>
            <a:headEnd/>
            <a:tailEnd/>
          </a:ln>
        </p:spPr>
        <p:txBody>
          <a:bodyPr rtlCol="0" anchor="ctr"/>
          <a:lstStyle/>
          <a:p>
            <a:pPr algn="ctr"/>
            <a:endParaRPr lang="en-US" sz="1800" dirty="0" smtClean="0">
              <a:solidFill>
                <a:srgbClr val="33464D"/>
              </a:solidFill>
              <a:latin typeface="Noto Sans CJK JP Medium" charset="-128"/>
              <a:ea typeface="Noto Sans CJK JP Medium" charset="-128"/>
              <a:cs typeface="Noto Sans CJK JP Medium" charset="-128"/>
            </a:endParaRPr>
          </a:p>
        </p:txBody>
      </p:sp>
      <p:sp>
        <p:nvSpPr>
          <p:cNvPr id="8" name="Rectangular Callout 7"/>
          <p:cNvSpPr/>
          <p:nvPr/>
        </p:nvSpPr>
        <p:spPr bwMode="gray">
          <a:xfrm>
            <a:off x="959556" y="1636890"/>
            <a:ext cx="7563555" cy="587022"/>
          </a:xfrm>
          <a:prstGeom prst="wedgeRectCallout">
            <a:avLst>
              <a:gd name="adj1" fmla="val 28367"/>
              <a:gd name="adj2" fmla="val -130068"/>
            </a:avLst>
          </a:prstGeom>
          <a:noFill/>
          <a:ln w="19050" cmpd="sng">
            <a:solidFill>
              <a:schemeClr val="tx2">
                <a:lumMod val="60000"/>
                <a:lumOff val="40000"/>
              </a:schemeClr>
            </a:solidFill>
            <a:miter lim="800000"/>
            <a:headEnd/>
            <a:tailEnd/>
          </a:ln>
        </p:spPr>
        <p:txBody>
          <a:bodyPr rtlCol="0" anchor="ctr"/>
          <a:lstStyle/>
          <a:p>
            <a:r>
              <a:rPr lang="ja-JP" altLang="en-US" sz="2000" kern="0" dirty="0">
                <a:solidFill>
                  <a:schemeClr val="accent6"/>
                </a:solidFill>
                <a:latin typeface="Noto Sans CJK JP Medium" charset="-128"/>
                <a:ea typeface="Noto Sans CJK JP Medium" charset="-128"/>
                <a:cs typeface="Noto Sans CJK JP Medium" charset="-128"/>
              </a:rPr>
              <a:t>スポット入札アドバイザーの</a:t>
            </a:r>
            <a:r>
              <a:rPr lang="en-US" altLang="ja-JP" sz="2000" kern="0" dirty="0">
                <a:solidFill>
                  <a:schemeClr val="accent6"/>
                </a:solidFill>
                <a:latin typeface="Noto Sans CJK JP Medium" charset="-128"/>
                <a:ea typeface="Noto Sans CJK JP Medium" charset="-128"/>
                <a:cs typeface="Noto Sans CJK JP Medium" charset="-128"/>
              </a:rPr>
              <a:t>Frequency of being outbid (week)</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9556" y="2443698"/>
            <a:ext cx="6639762" cy="3024354"/>
          </a:xfrm>
          <a:prstGeom prst="rect">
            <a:avLst/>
          </a:prstGeom>
        </p:spPr>
      </p:pic>
      <p:sp>
        <p:nvSpPr>
          <p:cNvPr id="9" name="Rectangular Callout 8"/>
          <p:cNvSpPr/>
          <p:nvPr/>
        </p:nvSpPr>
        <p:spPr bwMode="gray">
          <a:xfrm>
            <a:off x="8298568" y="4458769"/>
            <a:ext cx="1123245" cy="670618"/>
          </a:xfrm>
          <a:prstGeom prst="wedgeRectCallout">
            <a:avLst>
              <a:gd name="adj1" fmla="val -118593"/>
              <a:gd name="adj2" fmla="val 27239"/>
            </a:avLst>
          </a:prstGeom>
          <a:noFill/>
          <a:ln w="19050" cmpd="sng">
            <a:solidFill>
              <a:schemeClr val="tx2">
                <a:lumMod val="60000"/>
                <a:lumOff val="40000"/>
              </a:schemeClr>
            </a:solidFill>
            <a:miter lim="800000"/>
            <a:headEnd/>
            <a:tailEnd/>
          </a:ln>
        </p:spPr>
        <p:txBody>
          <a:bodyPr rtlCol="0" anchor="ctr"/>
          <a:lstStyle/>
          <a:p>
            <a:pPr algn="ctr"/>
            <a:r>
              <a:rPr lang="ja-JP" altLang="en-US" sz="2000" kern="0" smtClean="0">
                <a:solidFill>
                  <a:schemeClr val="accent6"/>
                </a:solidFill>
                <a:latin typeface="Noto Sans CJK JP Medium" charset="-128"/>
                <a:ea typeface="Noto Sans CJK JP Medium" charset="-128"/>
                <a:cs typeface="Noto Sans CJK JP Medium" charset="-128"/>
              </a:rPr>
              <a:t>コレ</a:t>
            </a:r>
            <a:endParaRPr lang="en-US" altLang="ja-JP" sz="2000" kern="0" dirty="0">
              <a:solidFill>
                <a:schemeClr val="accent6"/>
              </a:solidFill>
              <a:latin typeface="Noto Sans CJK JP Medium" charset="-128"/>
              <a:ea typeface="Noto Sans CJK JP Medium" charset="-128"/>
              <a:cs typeface="Noto Sans CJK JP Medium" charset="-128"/>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6992" y="5534027"/>
            <a:ext cx="3883076" cy="502356"/>
          </a:xfrm>
          <a:prstGeom prst="rect">
            <a:avLst/>
          </a:prstGeom>
        </p:spPr>
      </p:pic>
      <p:sp>
        <p:nvSpPr>
          <p:cNvPr id="12" name="TextBox 11"/>
          <p:cNvSpPr txBox="1"/>
          <p:nvPr/>
        </p:nvSpPr>
        <p:spPr>
          <a:xfrm>
            <a:off x="733778" y="6256170"/>
            <a:ext cx="7902222" cy="257369"/>
          </a:xfrm>
          <a:prstGeom prst="rect">
            <a:avLst/>
          </a:prstGeom>
          <a:noFill/>
        </p:spPr>
        <p:txBody>
          <a:bodyPr wrap="square" lIns="36000" tIns="36000" rIns="36000" bIns="36000" rtlCol="0">
            <a:spAutoFit/>
          </a:bodyPr>
          <a:lstStyle/>
          <a:p>
            <a:r>
              <a:rPr lang="en-US" altLang="ja-JP" sz="1200" dirty="0" smtClean="0">
                <a:solidFill>
                  <a:srgbClr val="33464D"/>
                </a:solidFill>
                <a:latin typeface="Noto Sans CJK JP Medium" charset="-128"/>
                <a:ea typeface="Noto Sans CJK JP Medium" charset="-128"/>
                <a:cs typeface="Noto Sans CJK JP Medium" charset="-128"/>
              </a:rPr>
              <a:t>※</a:t>
            </a:r>
            <a:r>
              <a:rPr lang="en-US" altLang="ja-JP" sz="1200" dirty="0">
                <a:solidFill>
                  <a:srgbClr val="33464D"/>
                </a:solidFill>
                <a:latin typeface="Noto Sans CJK JP Medium" charset="-128"/>
                <a:ea typeface="Noto Sans CJK JP Medium" charset="-128"/>
                <a:cs typeface="Noto Sans CJK JP Medium" charset="-128"/>
              </a:rPr>
              <a:t> </a:t>
            </a:r>
            <a:r>
              <a:rPr lang="ja-JP" altLang="en-US" sz="1200" dirty="0" smtClean="0">
                <a:solidFill>
                  <a:srgbClr val="33464D"/>
                </a:solidFill>
                <a:latin typeface="Noto Sans CJK JP Medium" charset="-128"/>
                <a:ea typeface="Noto Sans CJK JP Medium" charset="-128"/>
                <a:cs typeface="Noto Sans CJK JP Medium" charset="-128"/>
              </a:rPr>
              <a:t>スポット入札アドバイザー</a:t>
            </a:r>
            <a:r>
              <a:rPr lang="en-US" altLang="ja-JP" sz="1200" dirty="0">
                <a:solidFill>
                  <a:srgbClr val="33464D"/>
                </a:solidFill>
                <a:latin typeface="Noto Sans CJK JP Medium" charset="-128"/>
                <a:ea typeface="Noto Sans CJK JP Medium" charset="-128"/>
                <a:cs typeface="Noto Sans CJK JP Medium" charset="-128"/>
              </a:rPr>
              <a:t>. </a:t>
            </a:r>
            <a:r>
              <a:rPr lang="en-US" altLang="ja-JP" sz="1200" dirty="0">
                <a:solidFill>
                  <a:srgbClr val="33464D"/>
                </a:solidFill>
                <a:latin typeface="Noto Sans CJK JP Medium" charset="-128"/>
                <a:ea typeface="Noto Sans CJK JP Medium" charset="-128"/>
                <a:cs typeface="Noto Sans CJK JP Medium" charset="-128"/>
                <a:hlinkClick r:id="rId6"/>
              </a:rPr>
              <a:t>https://aws.amazon.com/jp/ec2/spot/bid-advisor</a:t>
            </a:r>
            <a:r>
              <a:rPr lang="en-US" altLang="ja-JP" sz="1200" dirty="0" smtClean="0">
                <a:solidFill>
                  <a:srgbClr val="33464D"/>
                </a:solidFill>
                <a:latin typeface="Noto Sans CJK JP Medium" charset="-128"/>
                <a:ea typeface="Noto Sans CJK JP Medium" charset="-128"/>
                <a:cs typeface="Noto Sans CJK JP Medium" charset="-128"/>
                <a:hlinkClick r:id="rId6"/>
              </a:rPr>
              <a:t>/</a:t>
            </a:r>
            <a:r>
              <a:rPr lang="en-US" altLang="ja-JP" sz="1200" dirty="0" smtClean="0">
                <a:solidFill>
                  <a:srgbClr val="33464D"/>
                </a:solidFill>
                <a:latin typeface="Noto Sans CJK JP Medium" charset="-128"/>
                <a:ea typeface="Noto Sans CJK JP Medium" charset="-128"/>
                <a:cs typeface="Noto Sans CJK JP Medium" charset="-128"/>
              </a:rPr>
              <a:t> (</a:t>
            </a:r>
            <a:r>
              <a:rPr lang="ja-JP" altLang="en-US" sz="1200" dirty="0" smtClean="0">
                <a:solidFill>
                  <a:srgbClr val="33464D"/>
                </a:solidFill>
                <a:latin typeface="Noto Sans CJK JP Medium" charset="-128"/>
                <a:ea typeface="Noto Sans CJK JP Medium" charset="-128"/>
                <a:cs typeface="Noto Sans CJK JP Medium" charset="-128"/>
              </a:rPr>
              <a:t>参照</a:t>
            </a:r>
            <a:r>
              <a:rPr lang="en-US" altLang="ja-JP" sz="1200" dirty="0" smtClean="0">
                <a:solidFill>
                  <a:srgbClr val="33464D"/>
                </a:solidFill>
                <a:latin typeface="Noto Sans CJK JP Medium" charset="-128"/>
                <a:ea typeface="Noto Sans CJK JP Medium" charset="-128"/>
                <a:cs typeface="Noto Sans CJK JP Medium" charset="-128"/>
              </a:rPr>
              <a:t> 2016-12-09)</a:t>
            </a:r>
            <a:endParaRPr kumimoji="1" lang="en-US" sz="1200" dirty="0" smtClean="0">
              <a:solidFill>
                <a:srgbClr val="33464D"/>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109972946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スポットインスタンスのインスタンス選定</a:t>
            </a:r>
            <a:endParaRPr lang="en-US" b="0" dirty="0">
              <a:latin typeface="Noto Sans CJK JP Medium" charset="-128"/>
              <a:ea typeface="Noto Sans CJK JP Medium" charset="-128"/>
              <a:cs typeface="Noto Sans CJK JP Medium" charset="-128"/>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1663" y="928370"/>
            <a:ext cx="8750300" cy="393700"/>
          </a:xfrm>
          <a:prstGeom prst="rect">
            <a:avLst/>
          </a:prstGeom>
        </p:spPr>
      </p:pic>
      <p:sp>
        <p:nvSpPr>
          <p:cNvPr id="13" name="Content Placeholder 2"/>
          <p:cNvSpPr>
            <a:spLocks noGrp="1"/>
          </p:cNvSpPr>
          <p:nvPr>
            <p:ph idx="1"/>
          </p:nvPr>
        </p:nvSpPr>
        <p:spPr>
          <a:xfrm>
            <a:off x="381000" y="762000"/>
            <a:ext cx="3825240" cy="5110163"/>
          </a:xfrm>
        </p:spPr>
        <p:txBody>
          <a:bodyPr/>
          <a:lstStyle/>
          <a:p>
            <a:endParaRPr lang="en-US" altLang="ja-JP" b="0" dirty="0" smtClean="0">
              <a:latin typeface="Noto Sans CJK JP Medium" charset="-128"/>
              <a:ea typeface="Noto Sans CJK JP Medium" charset="-128"/>
              <a:cs typeface="Noto Sans CJK JP Medium" charset="-128"/>
            </a:endParaRPr>
          </a:p>
          <a:p>
            <a:endParaRPr lang="en-US" altLang="ja-JP" b="0" dirty="0">
              <a:latin typeface="Noto Sans CJK JP Medium" charset="-128"/>
              <a:ea typeface="Noto Sans CJK JP Medium" charset="-128"/>
              <a:cs typeface="Noto Sans CJK JP Medium" charset="-128"/>
            </a:endParaRPr>
          </a:p>
          <a:p>
            <a:endParaRPr lang="en-US" altLang="ja-JP" b="0" dirty="0" smtClean="0">
              <a:latin typeface="Noto Sans CJK JP Medium" charset="-128"/>
              <a:ea typeface="Noto Sans CJK JP Medium" charset="-128"/>
              <a:cs typeface="Noto Sans CJK JP Medium" charset="-128"/>
            </a:endParaRPr>
          </a:p>
          <a:p>
            <a:r>
              <a:rPr lang="ja-JP" altLang="en-US" b="0" dirty="0" smtClean="0">
                <a:latin typeface="Noto Sans CJK JP Medium" charset="-128"/>
                <a:ea typeface="Noto Sans CJK JP Medium" charset="-128"/>
                <a:cs typeface="Noto Sans CJK JP Medium" charset="-128"/>
              </a:rPr>
              <a:t>重みを設定する。</a:t>
            </a:r>
            <a:endParaRPr lang="en-US" altLang="ja-JP" b="0" dirty="0" smtClean="0">
              <a:latin typeface="Noto Sans CJK JP Medium" charset="-128"/>
              <a:ea typeface="Noto Sans CJK JP Medium" charset="-128"/>
              <a:cs typeface="Noto Sans CJK JP Medium" charset="-128"/>
            </a:endParaRPr>
          </a:p>
          <a:p>
            <a:pPr lvl="1"/>
            <a:r>
              <a:rPr lang="en-US" altLang="ja-JP" b="0" dirty="0" smtClean="0">
                <a:latin typeface="Noto Sans CJK JP Medium" charset="-128"/>
                <a:ea typeface="Noto Sans CJK JP Medium" charset="-128"/>
                <a:cs typeface="Noto Sans CJK JP Medium" charset="-128"/>
              </a:rPr>
              <a:t>r3.xlarge</a:t>
            </a:r>
          </a:p>
          <a:p>
            <a:pPr lvl="1"/>
            <a:endParaRPr lang="en-US" altLang="ja-JP" b="0" dirty="0" smtClean="0">
              <a:latin typeface="Noto Sans CJK JP Medium" charset="-128"/>
              <a:ea typeface="Noto Sans CJK JP Medium" charset="-128"/>
              <a:cs typeface="Noto Sans CJK JP Medium" charset="-128"/>
            </a:endParaRPr>
          </a:p>
          <a:p>
            <a:pPr lvl="1"/>
            <a:r>
              <a:rPr lang="en-US" altLang="ja-JP" b="0" dirty="0" smtClean="0">
                <a:latin typeface="Noto Sans CJK JP Medium" charset="-128"/>
                <a:ea typeface="Noto Sans CJK JP Medium" charset="-128"/>
                <a:cs typeface="Noto Sans CJK JP Medium" charset="-128"/>
              </a:rPr>
              <a:t>r3.2xlarge</a:t>
            </a:r>
          </a:p>
          <a:p>
            <a:pPr lvl="1"/>
            <a:endParaRPr lang="en-US" altLang="ja-JP" b="0" dirty="0" smtClean="0">
              <a:latin typeface="Noto Sans CJK JP Medium" charset="-128"/>
              <a:ea typeface="Noto Sans CJK JP Medium" charset="-128"/>
              <a:cs typeface="Noto Sans CJK JP Medium" charset="-128"/>
            </a:endParaRPr>
          </a:p>
          <a:p>
            <a:pPr lvl="1"/>
            <a:r>
              <a:rPr lang="en-US" altLang="ja-JP" b="0" dirty="0">
                <a:latin typeface="Noto Sans CJK JP Medium" charset="-128"/>
                <a:ea typeface="Noto Sans CJK JP Medium" charset="-128"/>
                <a:cs typeface="Noto Sans CJK JP Medium" charset="-128"/>
              </a:rPr>
              <a:t>r</a:t>
            </a:r>
            <a:r>
              <a:rPr lang="en-US" altLang="ja-JP" b="0" dirty="0" smtClean="0">
                <a:latin typeface="Noto Sans CJK JP Medium" charset="-128"/>
                <a:ea typeface="Noto Sans CJK JP Medium" charset="-128"/>
                <a:cs typeface="Noto Sans CJK JP Medium" charset="-128"/>
              </a:rPr>
              <a:t>3.4xlarge</a:t>
            </a:r>
          </a:p>
        </p:txBody>
      </p:sp>
      <p:sp>
        <p:nvSpPr>
          <p:cNvPr id="14" name="Content Placeholder 2"/>
          <p:cNvSpPr txBox="1">
            <a:spLocks/>
          </p:cNvSpPr>
          <p:nvPr/>
        </p:nvSpPr>
        <p:spPr bwMode="auto">
          <a:xfrm>
            <a:off x="4781550" y="762000"/>
            <a:ext cx="3825240" cy="5110163"/>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fontAlgn="base">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fontAlgn="base">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fontAlgn="base">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fontAlgn="base">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fontAlgn="base">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endParaRPr lang="en-US" altLang="ja-JP" b="0" kern="0" dirty="0" smtClean="0">
              <a:latin typeface="Noto Sans CJK JP Medium" charset="-128"/>
              <a:ea typeface="Noto Sans CJK JP Medium" charset="-128"/>
              <a:cs typeface="Noto Sans CJK JP Medium" charset="-128"/>
            </a:endParaRPr>
          </a:p>
          <a:p>
            <a:endParaRPr lang="en-US" altLang="ja-JP" b="0" kern="0" dirty="0" smtClean="0">
              <a:latin typeface="Noto Sans CJK JP Medium" charset="-128"/>
              <a:ea typeface="Noto Sans CJK JP Medium" charset="-128"/>
              <a:cs typeface="Noto Sans CJK JP Medium" charset="-128"/>
            </a:endParaRPr>
          </a:p>
          <a:p>
            <a:endParaRPr lang="en-US" altLang="ja-JP" b="0" kern="0" dirty="0" smtClean="0">
              <a:latin typeface="Noto Sans CJK JP Medium" charset="-128"/>
              <a:ea typeface="Noto Sans CJK JP Medium" charset="-128"/>
              <a:cs typeface="Noto Sans CJK JP Medium" charset="-128"/>
            </a:endParaRPr>
          </a:p>
          <a:p>
            <a:endParaRPr lang="en-US" altLang="ja-JP" b="0" kern="0" dirty="0" smtClean="0">
              <a:latin typeface="Noto Sans CJK JP Medium" charset="-128"/>
              <a:ea typeface="Noto Sans CJK JP Medium" charset="-128"/>
              <a:cs typeface="Noto Sans CJK JP Medium" charset="-128"/>
            </a:endParaRPr>
          </a:p>
          <a:p>
            <a:pPr lvl="1"/>
            <a:r>
              <a:rPr lang="en-US" altLang="ja-JP" b="0" kern="0" dirty="0" smtClean="0">
                <a:latin typeface="Noto Sans CJK JP Medium" charset="-128"/>
                <a:ea typeface="Noto Sans CJK JP Medium" charset="-128"/>
                <a:cs typeface="Noto Sans CJK JP Medium" charset="-128"/>
              </a:rPr>
              <a:t>1</a:t>
            </a:r>
          </a:p>
          <a:p>
            <a:pPr lvl="1"/>
            <a:endParaRPr lang="en-US" altLang="ja-JP" b="0" kern="0" dirty="0" smtClean="0">
              <a:latin typeface="Noto Sans CJK JP Medium" charset="-128"/>
              <a:ea typeface="Noto Sans CJK JP Medium" charset="-128"/>
              <a:cs typeface="Noto Sans CJK JP Medium" charset="-128"/>
            </a:endParaRPr>
          </a:p>
          <a:p>
            <a:pPr lvl="1"/>
            <a:r>
              <a:rPr lang="en-US" altLang="ja-JP" b="0" kern="0" dirty="0" smtClean="0">
                <a:latin typeface="Noto Sans CJK JP Medium" charset="-128"/>
                <a:ea typeface="Noto Sans CJK JP Medium" charset="-128"/>
                <a:cs typeface="Noto Sans CJK JP Medium" charset="-128"/>
              </a:rPr>
              <a:t>2</a:t>
            </a:r>
          </a:p>
          <a:p>
            <a:pPr lvl="1"/>
            <a:endParaRPr lang="en-US" altLang="ja-JP" b="0" kern="0" dirty="0" smtClean="0">
              <a:latin typeface="Noto Sans CJK JP Medium" charset="-128"/>
              <a:ea typeface="Noto Sans CJK JP Medium" charset="-128"/>
              <a:cs typeface="Noto Sans CJK JP Medium" charset="-128"/>
            </a:endParaRPr>
          </a:p>
          <a:p>
            <a:pPr lvl="1"/>
            <a:r>
              <a:rPr lang="en-US" altLang="ja-JP" b="0" kern="0" dirty="0">
                <a:latin typeface="Noto Sans CJK JP Medium" charset="-128"/>
                <a:ea typeface="Noto Sans CJK JP Medium" charset="-128"/>
                <a:cs typeface="Noto Sans CJK JP Medium" charset="-128"/>
              </a:rPr>
              <a:t>4</a:t>
            </a:r>
            <a:endParaRPr lang="en-US" altLang="ja-JP" b="0" kern="0" dirty="0" smtClean="0">
              <a:latin typeface="Noto Sans CJK JP Medium" charset="-128"/>
              <a:ea typeface="Noto Sans CJK JP Medium" charset="-128"/>
              <a:cs typeface="Noto Sans CJK JP Medium" charset="-128"/>
            </a:endParaRPr>
          </a:p>
        </p:txBody>
      </p:sp>
      <p:cxnSp>
        <p:nvCxnSpPr>
          <p:cNvPr id="21" name="Straight Arrow Connector 20"/>
          <p:cNvCxnSpPr/>
          <p:nvPr/>
        </p:nvCxnSpPr>
        <p:spPr bwMode="auto">
          <a:xfrm>
            <a:off x="2712720" y="2564130"/>
            <a:ext cx="2068830" cy="0"/>
          </a:xfrm>
          <a:prstGeom prst="straightConnector1">
            <a:avLst/>
          </a:prstGeom>
          <a:solidFill>
            <a:schemeClr val="accent1"/>
          </a:solidFill>
          <a:ln w="19050" cap="flat" cmpd="sng" algn="ctr">
            <a:solidFill>
              <a:srgbClr val="33464D"/>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5" name="Straight Arrow Connector 24"/>
          <p:cNvCxnSpPr/>
          <p:nvPr/>
        </p:nvCxnSpPr>
        <p:spPr bwMode="auto">
          <a:xfrm>
            <a:off x="2712720" y="3301840"/>
            <a:ext cx="2068830" cy="0"/>
          </a:xfrm>
          <a:prstGeom prst="straightConnector1">
            <a:avLst/>
          </a:prstGeom>
          <a:solidFill>
            <a:schemeClr val="accent1"/>
          </a:solidFill>
          <a:ln w="19050" cap="flat" cmpd="sng" algn="ctr">
            <a:solidFill>
              <a:srgbClr val="33464D"/>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6" name="Straight Arrow Connector 25"/>
          <p:cNvCxnSpPr/>
          <p:nvPr/>
        </p:nvCxnSpPr>
        <p:spPr bwMode="auto">
          <a:xfrm>
            <a:off x="2712720" y="4071460"/>
            <a:ext cx="2068830" cy="0"/>
          </a:xfrm>
          <a:prstGeom prst="straightConnector1">
            <a:avLst/>
          </a:prstGeom>
          <a:solidFill>
            <a:schemeClr val="accent1"/>
          </a:solidFill>
          <a:ln w="19050" cap="flat" cmpd="sng" algn="ctr">
            <a:solidFill>
              <a:srgbClr val="33464D"/>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7" name="Content Placeholder 2"/>
          <p:cNvSpPr txBox="1">
            <a:spLocks/>
          </p:cNvSpPr>
          <p:nvPr/>
        </p:nvSpPr>
        <p:spPr bwMode="auto">
          <a:xfrm>
            <a:off x="1791732" y="5048727"/>
            <a:ext cx="6370161" cy="640556"/>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fontAlgn="base">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fontAlgn="base">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fontAlgn="base">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fontAlgn="base">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fontAlgn="base">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ja-JP" altLang="en-US" sz="2400" b="0" kern="0" dirty="0" smtClean="0">
                <a:solidFill>
                  <a:schemeClr val="accent6"/>
                </a:solidFill>
                <a:latin typeface="Noto Sans CJK JP Medium" charset="-128"/>
                <a:ea typeface="Noto Sans CJK JP Medium" charset="-128"/>
                <a:cs typeface="Noto Sans CJK JP Medium" charset="-128"/>
              </a:rPr>
              <a:t>取得するスポットインスタンスの値段</a:t>
            </a:r>
            <a:r>
              <a:rPr lang="en-US" altLang="ja-JP" sz="2400" b="0" kern="0" dirty="0" smtClean="0">
                <a:solidFill>
                  <a:schemeClr val="accent6"/>
                </a:solidFill>
                <a:latin typeface="Noto Sans CJK JP Medium" charset="-128"/>
                <a:ea typeface="Noto Sans CJK JP Medium" charset="-128"/>
                <a:cs typeface="Noto Sans CJK JP Medium" charset="-128"/>
              </a:rPr>
              <a:t> / </a:t>
            </a:r>
            <a:r>
              <a:rPr lang="ja-JP" altLang="en-US" sz="2400" b="0" kern="0" dirty="0" smtClean="0">
                <a:solidFill>
                  <a:schemeClr val="accent6"/>
                </a:solidFill>
                <a:latin typeface="Noto Sans CJK JP Medium" charset="-128"/>
                <a:ea typeface="Noto Sans CJK JP Medium" charset="-128"/>
                <a:cs typeface="Noto Sans CJK JP Medium" charset="-128"/>
              </a:rPr>
              <a:t>重み</a:t>
            </a:r>
            <a:endParaRPr lang="en-US" altLang="ja-JP" sz="2400" b="0" kern="0" dirty="0" smtClean="0">
              <a:solidFill>
                <a:schemeClr val="accent6"/>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164808154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a:latin typeface="Noto Sans CJK JP Medium" charset="-128"/>
                <a:ea typeface="Noto Sans CJK JP Medium" charset="-128"/>
                <a:cs typeface="Noto Sans CJK JP Medium" charset="-128"/>
              </a:rPr>
              <a:t>スポットインスタンス入札の際の値段算出</a:t>
            </a:r>
            <a:endParaRPr lang="en-US" b="0" dirty="0">
              <a:latin typeface="Noto Sans CJK JP Medium" charset="-128"/>
              <a:ea typeface="Noto Sans CJK JP Medium" charset="-128"/>
              <a:cs typeface="Noto Sans CJK JP Medium" charset="-128"/>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1663" y="928370"/>
            <a:ext cx="8750300" cy="393700"/>
          </a:xfrm>
          <a:prstGeom prst="rect">
            <a:avLst/>
          </a:prstGeom>
        </p:spPr>
      </p:pic>
      <p:graphicFrame>
        <p:nvGraphicFramePr>
          <p:cNvPr id="11" name="Table 10"/>
          <p:cNvGraphicFramePr>
            <a:graphicFrameLocks noGrp="1"/>
          </p:cNvGraphicFramePr>
          <p:nvPr>
            <p:extLst>
              <p:ext uri="{D42A27DB-BD31-4B8C-83A1-F6EECF244321}">
                <p14:modId xmlns:p14="http://schemas.microsoft.com/office/powerpoint/2010/main" val="1510085755"/>
              </p:ext>
            </p:extLst>
          </p:nvPr>
        </p:nvGraphicFramePr>
        <p:xfrm>
          <a:off x="531810" y="2507826"/>
          <a:ext cx="8820153" cy="3050076"/>
        </p:xfrm>
        <a:graphic>
          <a:graphicData uri="http://schemas.openxmlformats.org/drawingml/2006/table">
            <a:tbl>
              <a:tblPr firstRow="1" bandRow="1">
                <a:tableStyleId>{5C22544A-7EE6-4342-B048-85BDC9FD1C3A}</a:tableStyleId>
              </a:tblPr>
              <a:tblGrid>
                <a:gridCol w="2622870"/>
                <a:gridCol w="3291840"/>
                <a:gridCol w="2905443"/>
              </a:tblGrid>
              <a:tr h="429684">
                <a:tc>
                  <a:txBody>
                    <a:bodyPr/>
                    <a:lstStyle/>
                    <a:p>
                      <a:pPr algn="ctr"/>
                      <a:r>
                        <a:rPr lang="ja-JP" altLang="en-US" dirty="0" smtClean="0"/>
                        <a:t>インスタンスタイプ</a:t>
                      </a:r>
                      <a:endParaRPr lang="en-US" dirty="0"/>
                    </a:p>
                  </a:txBody>
                  <a:tcPr anchor="ctr"/>
                </a:tc>
                <a:tc>
                  <a:txBody>
                    <a:bodyPr/>
                    <a:lstStyle/>
                    <a:p>
                      <a:pPr algn="ctr"/>
                      <a:r>
                        <a:rPr lang="ja-JP" altLang="en-US" dirty="0" smtClean="0"/>
                        <a:t>取得するスポットインスタンスの値段</a:t>
                      </a:r>
                      <a:endParaRPr lang="en-US" dirty="0"/>
                    </a:p>
                  </a:txBody>
                  <a:tcPr anchor="ctr"/>
                </a:tc>
                <a:tc>
                  <a:txBody>
                    <a:bodyPr/>
                    <a:lstStyle/>
                    <a:p>
                      <a:pPr algn="ctr"/>
                      <a:r>
                        <a:rPr lang="ja-JP" altLang="en-US" dirty="0" smtClean="0"/>
                        <a:t>値段</a:t>
                      </a:r>
                      <a:endParaRPr lang="en-US" dirty="0"/>
                    </a:p>
                  </a:txBody>
                  <a:tcPr anchor="ctr"/>
                </a:tc>
              </a:tr>
              <a:tr h="803332">
                <a:tc>
                  <a:txBody>
                    <a:bodyPr/>
                    <a:lstStyle/>
                    <a:p>
                      <a:pPr algn="l"/>
                      <a:r>
                        <a:rPr lang="en-US" dirty="0" smtClean="0"/>
                        <a:t>r3.xlarge</a:t>
                      </a:r>
                      <a:endParaRPr lang="en-US" dirty="0"/>
                    </a:p>
                  </a:txBody>
                  <a:tcPr anchor="ctr"/>
                </a:tc>
                <a:tc>
                  <a:txBody>
                    <a:bodyPr/>
                    <a:lstStyle/>
                    <a:p>
                      <a:pPr algn="l"/>
                      <a:r>
                        <a:rPr lang="en-US" dirty="0" smtClean="0"/>
                        <a:t>$ 0.1</a:t>
                      </a:r>
                      <a:endParaRPr lang="en-US" dirty="0"/>
                    </a:p>
                  </a:txBody>
                  <a:tcPr anchor="ctr"/>
                </a:tc>
                <a:tc>
                  <a:txBody>
                    <a:bodyPr/>
                    <a:lstStyle/>
                    <a:p>
                      <a:pPr algn="l"/>
                      <a:r>
                        <a:rPr lang="en-US" dirty="0" smtClean="0"/>
                        <a:t>$ 0.1</a:t>
                      </a:r>
                      <a:r>
                        <a:rPr lang="en-US" baseline="0" dirty="0" smtClean="0"/>
                        <a:t> / 1 = $ 0.1</a:t>
                      </a:r>
                      <a:endParaRPr lang="en-US" dirty="0"/>
                    </a:p>
                  </a:txBody>
                  <a:tcPr anchor="ctr"/>
                </a:tc>
              </a:tr>
              <a:tr h="80333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r3.2xlarge</a:t>
                      </a:r>
                    </a:p>
                  </a:txBody>
                  <a:tcPr anchor="ctr"/>
                </a:tc>
                <a:tc>
                  <a:txBody>
                    <a:bodyPr/>
                    <a:lstStyle/>
                    <a:p>
                      <a:pPr algn="l"/>
                      <a:r>
                        <a:rPr lang="en-US" dirty="0" smtClean="0"/>
                        <a:t>$ 0.3</a:t>
                      </a:r>
                      <a:endParaRPr lang="en-US" dirty="0"/>
                    </a:p>
                  </a:txBody>
                  <a:tcPr anchor="ctr"/>
                </a:tc>
                <a:tc>
                  <a:txBody>
                    <a:bodyPr/>
                    <a:lstStyle/>
                    <a:p>
                      <a:pPr algn="l"/>
                      <a:r>
                        <a:rPr lang="en-US" dirty="0" smtClean="0"/>
                        <a:t>$</a:t>
                      </a:r>
                      <a:r>
                        <a:rPr lang="en-US" baseline="0" dirty="0" smtClean="0"/>
                        <a:t> </a:t>
                      </a:r>
                      <a:r>
                        <a:rPr lang="en-US" dirty="0" smtClean="0"/>
                        <a:t>0.3 /</a:t>
                      </a:r>
                      <a:r>
                        <a:rPr lang="en-US" baseline="0" dirty="0" smtClean="0"/>
                        <a:t> 2 = $ 0.15</a:t>
                      </a:r>
                      <a:endParaRPr lang="en-US" dirty="0"/>
                    </a:p>
                  </a:txBody>
                  <a:tcPr anchor="ctr"/>
                </a:tc>
              </a:tr>
              <a:tr h="80333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r3.4xlarge</a:t>
                      </a:r>
                    </a:p>
                  </a:txBody>
                  <a:tcPr anchor="ctr"/>
                </a:tc>
                <a:tc>
                  <a:txBody>
                    <a:bodyPr/>
                    <a:lstStyle/>
                    <a:p>
                      <a:pPr algn="l"/>
                      <a:r>
                        <a:rPr lang="en-US" dirty="0" smtClean="0"/>
                        <a:t>$ 0.35</a:t>
                      </a:r>
                      <a:endParaRPr lang="en-US" dirty="0"/>
                    </a:p>
                  </a:txBody>
                  <a:tcPr anchor="ctr"/>
                </a:tc>
                <a:tc>
                  <a:txBody>
                    <a:bodyPr/>
                    <a:lstStyle/>
                    <a:p>
                      <a:pPr algn="l"/>
                      <a:r>
                        <a:rPr lang="en-US" dirty="0" smtClean="0"/>
                        <a:t>$ 0.35 /</a:t>
                      </a:r>
                      <a:r>
                        <a:rPr lang="en-US" baseline="0" dirty="0" smtClean="0"/>
                        <a:t> 4 = </a:t>
                      </a:r>
                      <a:r>
                        <a:rPr lang="en-US" baseline="0" dirty="0" smtClean="0">
                          <a:solidFill>
                            <a:schemeClr val="accent6"/>
                          </a:solidFill>
                        </a:rPr>
                        <a:t>$ 0.0875</a:t>
                      </a:r>
                      <a:endParaRPr lang="en-US" dirty="0">
                        <a:solidFill>
                          <a:schemeClr val="accent6"/>
                        </a:solidFill>
                      </a:endParaRPr>
                    </a:p>
                  </a:txBody>
                  <a:tcPr anchor="ctr"/>
                </a:tc>
              </a:tr>
            </a:tbl>
          </a:graphicData>
        </a:graphic>
      </p:graphicFrame>
    </p:spTree>
    <p:extLst>
      <p:ext uri="{BB962C8B-B14F-4D97-AF65-F5344CB8AC3E}">
        <p14:creationId xmlns:p14="http://schemas.microsoft.com/office/powerpoint/2010/main" val="92957132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問題点</a:t>
            </a:r>
            <a:endParaRPr lang="en-US" b="0" dirty="0">
              <a:latin typeface="Noto Sans CJK JP Medium" charset="-128"/>
              <a:ea typeface="Noto Sans CJK JP Medium" charset="-128"/>
              <a:cs typeface="Noto Sans CJK JP Medium" charset="-128"/>
            </a:endParaRPr>
          </a:p>
        </p:txBody>
      </p:sp>
      <p:sp>
        <p:nvSpPr>
          <p:cNvPr id="3" name="Content Placeholder 2"/>
          <p:cNvSpPr>
            <a:spLocks noGrp="1"/>
          </p:cNvSpPr>
          <p:nvPr>
            <p:ph idx="1"/>
          </p:nvPr>
        </p:nvSpPr>
        <p:spPr/>
        <p:txBody>
          <a:bodyPr/>
          <a:lstStyle/>
          <a:p>
            <a:r>
              <a:rPr lang="ja-JP" altLang="en-US" b="0" dirty="0" smtClean="0">
                <a:latin typeface="Noto Sans CJK JP Medium" charset="-128"/>
                <a:ea typeface="Noto Sans CJK JP Medium" charset="-128"/>
                <a:cs typeface="Noto Sans CJK JP Medium" charset="-128"/>
              </a:rPr>
              <a:t>タスクグループの上限が</a:t>
            </a:r>
            <a:r>
              <a:rPr lang="en-US" altLang="ja-JP" b="0" dirty="0" smtClean="0">
                <a:solidFill>
                  <a:schemeClr val="accent6"/>
                </a:solidFill>
                <a:latin typeface="Noto Sans CJK JP Medium" charset="-128"/>
                <a:ea typeface="Noto Sans CJK JP Medium" charset="-128"/>
                <a:cs typeface="Noto Sans CJK JP Medium" charset="-128"/>
              </a:rPr>
              <a:t>48</a:t>
            </a:r>
            <a:r>
              <a:rPr lang="ja-JP" altLang="en-US" b="0" dirty="0" smtClean="0">
                <a:solidFill>
                  <a:schemeClr val="accent6"/>
                </a:solidFill>
                <a:latin typeface="Noto Sans CJK JP Medium" charset="-128"/>
                <a:ea typeface="Noto Sans CJK JP Medium" charset="-128"/>
                <a:cs typeface="Noto Sans CJK JP Medium" charset="-128"/>
              </a:rPr>
              <a:t>個</a:t>
            </a:r>
            <a:r>
              <a:rPr lang="ja-JP" altLang="en-US" b="0" dirty="0" smtClean="0">
                <a:latin typeface="Noto Sans CJK JP Medium" charset="-128"/>
                <a:ea typeface="Noto Sans CJK JP Medium" charset="-128"/>
                <a:cs typeface="Noto Sans CJK JP Medium" charset="-128"/>
              </a:rPr>
              <a:t>まで。</a:t>
            </a:r>
            <a:endParaRPr lang="en-US" altLang="ja-JP" b="0" dirty="0" smtClean="0">
              <a:latin typeface="Noto Sans CJK JP Medium" charset="-128"/>
              <a:ea typeface="Noto Sans CJK JP Medium" charset="-128"/>
              <a:cs typeface="Noto Sans CJK JP Medium" charset="-128"/>
            </a:endParaRPr>
          </a:p>
          <a:p>
            <a:pPr lvl="1"/>
            <a:r>
              <a:rPr lang="ja-JP" altLang="en-US" b="0" dirty="0" smtClean="0">
                <a:latin typeface="Noto Sans CJK JP Medium" charset="-128"/>
                <a:ea typeface="Noto Sans CJK JP Medium" charset="-128"/>
                <a:cs typeface="Noto Sans CJK JP Medium" charset="-128"/>
              </a:rPr>
              <a:t>単純にとすぐに上限に達してしまう。</a:t>
            </a:r>
            <a:endParaRPr lang="en-US" altLang="ja-JP" b="0" dirty="0" smtClean="0">
              <a:latin typeface="Noto Sans CJK JP Medium" charset="-128"/>
              <a:ea typeface="Noto Sans CJK JP Medium" charset="-128"/>
              <a:cs typeface="Noto Sans CJK JP Medium" charset="-128"/>
            </a:endParaRPr>
          </a:p>
          <a:p>
            <a:pPr lvl="1"/>
            <a:endParaRPr lang="en-US" altLang="ja-JP" b="0" dirty="0">
              <a:latin typeface="Noto Sans CJK JP Medium" charset="-128"/>
              <a:ea typeface="Noto Sans CJK JP Medium" charset="-128"/>
              <a:cs typeface="Noto Sans CJK JP Medium" charset="-128"/>
            </a:endParaRPr>
          </a:p>
          <a:p>
            <a:r>
              <a:rPr lang="ja-JP" altLang="en-US" b="0" dirty="0" smtClean="0">
                <a:latin typeface="Noto Sans CJK JP Medium" charset="-128"/>
                <a:ea typeface="Noto Sans CJK JP Medium" charset="-128"/>
                <a:cs typeface="Noto Sans CJK JP Medium" charset="-128"/>
              </a:rPr>
              <a:t>タスクグループが</a:t>
            </a:r>
            <a:r>
              <a:rPr lang="ja-JP" altLang="en-US" b="0" dirty="0" smtClean="0">
                <a:solidFill>
                  <a:schemeClr val="accent6"/>
                </a:solidFill>
                <a:latin typeface="Noto Sans CJK JP Medium" charset="-128"/>
                <a:ea typeface="Noto Sans CJK JP Medium" charset="-128"/>
                <a:cs typeface="Noto Sans CJK JP Medium" charset="-128"/>
              </a:rPr>
              <a:t>削除できない</a:t>
            </a:r>
            <a:r>
              <a:rPr lang="ja-JP" altLang="en-US" b="0" dirty="0" smtClean="0">
                <a:latin typeface="Noto Sans CJK JP Medium" charset="-128"/>
                <a:ea typeface="Noto Sans CJK JP Medium" charset="-128"/>
                <a:cs typeface="Noto Sans CJK JP Medium" charset="-128"/>
              </a:rPr>
              <a:t>。</a:t>
            </a:r>
            <a:endParaRPr lang="en-US" altLang="ja-JP" b="0" dirty="0" smtClean="0">
              <a:latin typeface="Noto Sans CJK JP Medium" charset="-128"/>
              <a:ea typeface="Noto Sans CJK JP Medium" charset="-128"/>
              <a:cs typeface="Noto Sans CJK JP Medium" charset="-128"/>
            </a:endParaRPr>
          </a:p>
          <a:p>
            <a:pPr lvl="1"/>
            <a:r>
              <a:rPr lang="ja-JP" altLang="en-US" b="0" dirty="0" smtClean="0">
                <a:latin typeface="Noto Sans CJK JP Medium" charset="-128"/>
                <a:ea typeface="Noto Sans CJK JP Medium" charset="-128"/>
                <a:cs typeface="Noto Sans CJK JP Medium" charset="-128"/>
              </a:rPr>
              <a:t>困った。</a:t>
            </a:r>
            <a:endParaRPr lang="en-US" altLang="ja-JP" b="0" dirty="0" smtClean="0">
              <a:latin typeface="Noto Sans CJK JP Medium" charset="-128"/>
              <a:ea typeface="Noto Sans CJK JP Medium" charset="-128"/>
              <a:cs typeface="Noto Sans CJK JP Medium" charset="-128"/>
            </a:endParaRPr>
          </a:p>
          <a:p>
            <a:pPr lvl="1"/>
            <a:endParaRPr lang="en-US" altLang="ja-JP" b="0" dirty="0">
              <a:latin typeface="Noto Sans CJK JP Medium" charset="-128"/>
              <a:ea typeface="Noto Sans CJK JP Medium" charset="-128"/>
              <a:cs typeface="Noto Sans CJK JP Medium" charset="-128"/>
            </a:endParaRPr>
          </a:p>
          <a:p>
            <a:r>
              <a:rPr lang="ja-JP" altLang="en-US" b="0" dirty="0" smtClean="0">
                <a:latin typeface="Noto Sans CJK JP Medium" charset="-128"/>
                <a:ea typeface="Noto Sans CJK JP Medium" charset="-128"/>
                <a:cs typeface="Noto Sans CJK JP Medium" charset="-128"/>
              </a:rPr>
              <a:t>スポットインスタンスへのリクエストが非同期（当たり前ですが）。</a:t>
            </a:r>
            <a:endParaRPr lang="en-US" altLang="ja-JP" b="0" dirty="0" smtClean="0">
              <a:latin typeface="Noto Sans CJK JP Medium" charset="-128"/>
              <a:ea typeface="Noto Sans CJK JP Medium" charset="-128"/>
              <a:cs typeface="Noto Sans CJK JP Medium" charset="-128"/>
            </a:endParaRPr>
          </a:p>
          <a:p>
            <a:pPr lvl="1"/>
            <a:r>
              <a:rPr lang="ja-JP" altLang="en-US" b="0" dirty="0" smtClean="0">
                <a:latin typeface="Noto Sans CJK JP Medium" charset="-128"/>
                <a:ea typeface="Noto Sans CJK JP Medium" charset="-128"/>
                <a:cs typeface="Noto Sans CJK JP Medium" charset="-128"/>
              </a:rPr>
              <a:t>スポットインスタンスのリクエスト結果を待たなくてはいけない。</a:t>
            </a:r>
            <a:r>
              <a:rPr lang="en-US" altLang="ja-JP" b="0" dirty="0">
                <a:latin typeface="Noto Sans CJK JP Medium" charset="-128"/>
                <a:ea typeface="Noto Sans CJK JP Medium" charset="-128"/>
                <a:cs typeface="Noto Sans CJK JP Medium" charset="-128"/>
              </a:rPr>
              <a:t/>
            </a:r>
            <a:br>
              <a:rPr lang="en-US" altLang="ja-JP" b="0" dirty="0">
                <a:latin typeface="Noto Sans CJK JP Medium" charset="-128"/>
                <a:ea typeface="Noto Sans CJK JP Medium" charset="-128"/>
                <a:cs typeface="Noto Sans CJK JP Medium" charset="-128"/>
              </a:rPr>
            </a:br>
            <a:r>
              <a:rPr lang="ja-JP" altLang="en-US" b="0" dirty="0" smtClean="0">
                <a:latin typeface="Noto Sans CJK JP Medium" charset="-128"/>
                <a:ea typeface="Noto Sans CJK JP Medium" charset="-128"/>
                <a:cs typeface="Noto Sans CJK JP Medium" charset="-128"/>
              </a:rPr>
              <a:t>（</a:t>
            </a:r>
            <a:r>
              <a:rPr lang="en-US" altLang="ja-JP" b="0" dirty="0" smtClean="0">
                <a:latin typeface="Noto Sans CJK JP Medium" charset="-128"/>
                <a:ea typeface="Noto Sans CJK JP Medium" charset="-128"/>
                <a:cs typeface="Noto Sans CJK JP Medium" charset="-128"/>
              </a:rPr>
              <a:t>10</a:t>
            </a:r>
            <a:r>
              <a:rPr lang="ja-JP" altLang="en-US" b="0" dirty="0" smtClean="0">
                <a:latin typeface="Noto Sans CJK JP Medium" charset="-128"/>
                <a:ea typeface="Noto Sans CJK JP Medium" charset="-128"/>
                <a:cs typeface="Noto Sans CJK JP Medium" charset="-128"/>
              </a:rPr>
              <a:t>分前後）</a:t>
            </a:r>
            <a:endParaRPr lang="en-US" altLang="ja-JP" b="0" dirty="0" smtClean="0">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103704576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タスクグループの上限問題</a:t>
            </a:r>
            <a:endParaRPr lang="en-US" b="0" dirty="0">
              <a:latin typeface="Noto Sans CJK JP Medium" charset="-128"/>
              <a:ea typeface="Noto Sans CJK JP Medium" charset="-128"/>
              <a:cs typeface="Noto Sans CJK JP Medium" charset="-128"/>
            </a:endParaRPr>
          </a:p>
        </p:txBody>
      </p:sp>
      <p:sp>
        <p:nvSpPr>
          <p:cNvPr id="3" name="Content Placeholder 2"/>
          <p:cNvSpPr>
            <a:spLocks noGrp="1"/>
          </p:cNvSpPr>
          <p:nvPr>
            <p:ph idx="1"/>
          </p:nvPr>
        </p:nvSpPr>
        <p:spPr>
          <a:xfrm>
            <a:off x="416719" y="787040"/>
            <a:ext cx="9120188" cy="5110163"/>
          </a:xfrm>
        </p:spPr>
        <p:txBody>
          <a:bodyPr/>
          <a:lstStyle/>
          <a:p>
            <a:r>
              <a:rPr lang="ja-JP" altLang="en-US" b="0" dirty="0" smtClean="0">
                <a:latin typeface="Noto Sans CJK JP Medium" charset="-128"/>
                <a:ea typeface="Noto Sans CJK JP Medium" charset="-128"/>
                <a:cs typeface="Noto Sans CJK JP Medium" charset="-128"/>
              </a:rPr>
              <a:t>タスクグループの上限が</a:t>
            </a:r>
            <a:r>
              <a:rPr lang="en-US" altLang="ja-JP" b="0" dirty="0" smtClean="0">
                <a:solidFill>
                  <a:schemeClr val="accent6"/>
                </a:solidFill>
                <a:latin typeface="Noto Sans CJK JP Medium" charset="-128"/>
                <a:ea typeface="Noto Sans CJK JP Medium" charset="-128"/>
                <a:cs typeface="Noto Sans CJK JP Medium" charset="-128"/>
              </a:rPr>
              <a:t>48</a:t>
            </a:r>
            <a:r>
              <a:rPr lang="ja-JP" altLang="en-US" b="0" dirty="0" smtClean="0">
                <a:solidFill>
                  <a:schemeClr val="accent6"/>
                </a:solidFill>
                <a:latin typeface="Noto Sans CJK JP Medium" charset="-128"/>
                <a:ea typeface="Noto Sans CJK JP Medium" charset="-128"/>
                <a:cs typeface="Noto Sans CJK JP Medium" charset="-128"/>
              </a:rPr>
              <a:t>個</a:t>
            </a:r>
            <a:r>
              <a:rPr lang="ja-JP" altLang="en-US" b="0" dirty="0" smtClean="0">
                <a:latin typeface="Noto Sans CJK JP Medium" charset="-128"/>
                <a:ea typeface="Noto Sans CJK JP Medium" charset="-128"/>
                <a:cs typeface="Noto Sans CJK JP Medium" charset="-128"/>
              </a:rPr>
              <a:t>まで。</a:t>
            </a:r>
            <a:endParaRPr lang="en-US" altLang="ja-JP" b="0" dirty="0" smtClean="0">
              <a:latin typeface="Noto Sans CJK JP Medium" charset="-128"/>
              <a:ea typeface="Noto Sans CJK JP Medium" charset="-128"/>
              <a:cs typeface="Noto Sans CJK JP Medium" charset="-128"/>
            </a:endParaRPr>
          </a:p>
          <a:p>
            <a:pPr lvl="1"/>
            <a:r>
              <a:rPr lang="ja-JP" altLang="en-US" b="0" dirty="0" smtClean="0">
                <a:latin typeface="Noto Sans CJK JP Medium" charset="-128"/>
                <a:ea typeface="Noto Sans CJK JP Medium" charset="-128"/>
                <a:cs typeface="Noto Sans CJK JP Medium" charset="-128"/>
              </a:rPr>
              <a:t>単純に増やすとすぐに上限に達してしまう。</a:t>
            </a:r>
            <a:endParaRPr lang="en-US" altLang="ja-JP" b="0" dirty="0" smtClean="0">
              <a:latin typeface="Noto Sans CJK JP Medium" charset="-128"/>
              <a:ea typeface="Noto Sans CJK JP Medium" charset="-128"/>
              <a:cs typeface="Noto Sans CJK JP Medium" charset="-128"/>
            </a:endParaRPr>
          </a:p>
        </p:txBody>
      </p:sp>
      <p:sp>
        <p:nvSpPr>
          <p:cNvPr id="17" name="コンテンツ プレースホルダー 2"/>
          <p:cNvSpPr txBox="1">
            <a:spLocks/>
          </p:cNvSpPr>
          <p:nvPr/>
        </p:nvSpPr>
        <p:spPr bwMode="auto">
          <a:xfrm>
            <a:off x="7519055" y="6038090"/>
            <a:ext cx="860147"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smtClean="0">
                <a:latin typeface="Noto Sans CJK JP Medium" charset="-128"/>
                <a:ea typeface="Noto Sans CJK JP Medium" charset="-128"/>
                <a:cs typeface="Noto Sans CJK JP Medium" charset="-128"/>
              </a:rPr>
              <a:t>時間</a:t>
            </a:r>
            <a:endParaRPr lang="en-US" altLang="ja-JP" sz="1600" b="0" dirty="0" smtClean="0">
              <a:latin typeface="Noto Sans CJK JP Medium" charset="-128"/>
              <a:ea typeface="Noto Sans CJK JP Medium" charset="-128"/>
              <a:cs typeface="Noto Sans CJK JP Medium" charset="-128"/>
            </a:endParaRPr>
          </a:p>
        </p:txBody>
      </p:sp>
      <p:sp>
        <p:nvSpPr>
          <p:cNvPr id="18" name="コンテンツ プレースホルダー 2"/>
          <p:cNvSpPr txBox="1">
            <a:spLocks/>
          </p:cNvSpPr>
          <p:nvPr/>
        </p:nvSpPr>
        <p:spPr bwMode="auto">
          <a:xfrm>
            <a:off x="630351" y="2425879"/>
            <a:ext cx="1075822" cy="386357"/>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sz="1600" b="0" dirty="0" smtClean="0">
                <a:latin typeface="Noto Sans CJK JP Medium" charset="-128"/>
                <a:ea typeface="Noto Sans CJK JP Medium" charset="-128"/>
                <a:cs typeface="Noto Sans CJK JP Medium" charset="-128"/>
              </a:rPr>
              <a:t>リソース</a:t>
            </a:r>
            <a:endParaRPr lang="en-US" altLang="ja-JP" sz="1600" b="0" dirty="0" smtClean="0">
              <a:latin typeface="Noto Sans CJK JP Medium" charset="-128"/>
              <a:ea typeface="Noto Sans CJK JP Medium" charset="-128"/>
              <a:cs typeface="Noto Sans CJK JP Medium" charset="-128"/>
            </a:endParaRPr>
          </a:p>
        </p:txBody>
      </p:sp>
      <p:sp>
        <p:nvSpPr>
          <p:cNvPr id="19" name="Rectangle 18"/>
          <p:cNvSpPr/>
          <p:nvPr/>
        </p:nvSpPr>
        <p:spPr bwMode="gray">
          <a:xfrm>
            <a:off x="1706173" y="4997660"/>
            <a:ext cx="796997" cy="919315"/>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cxnSp>
        <p:nvCxnSpPr>
          <p:cNvPr id="20" name="Straight Arrow Connector 19"/>
          <p:cNvCxnSpPr/>
          <p:nvPr/>
        </p:nvCxnSpPr>
        <p:spPr bwMode="auto">
          <a:xfrm flipH="1" flipV="1">
            <a:off x="1695377" y="2359378"/>
            <a:ext cx="1" cy="3704746"/>
          </a:xfrm>
          <a:prstGeom prst="straightConnector1">
            <a:avLst/>
          </a:prstGeom>
          <a:solidFill>
            <a:schemeClr val="accent1"/>
          </a:solidFill>
          <a:ln w="9525" cap="flat" cmpd="sng" algn="ctr">
            <a:solidFill>
              <a:srgbClr val="33464D"/>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4" name="Straight Arrow Connector 23"/>
          <p:cNvCxnSpPr/>
          <p:nvPr/>
        </p:nvCxnSpPr>
        <p:spPr bwMode="auto">
          <a:xfrm flipV="1">
            <a:off x="1542974" y="5882685"/>
            <a:ext cx="6968848" cy="29036"/>
          </a:xfrm>
          <a:prstGeom prst="straightConnector1">
            <a:avLst/>
          </a:prstGeom>
          <a:solidFill>
            <a:schemeClr val="accent1"/>
          </a:solidFill>
          <a:ln w="9525" cap="flat" cmpd="sng" algn="ctr">
            <a:solidFill>
              <a:srgbClr val="33464D"/>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30" name="Rectangle 29"/>
          <p:cNvSpPr/>
          <p:nvPr/>
        </p:nvSpPr>
        <p:spPr bwMode="gray">
          <a:xfrm>
            <a:off x="2502535" y="4630593"/>
            <a:ext cx="796997" cy="1274952"/>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31" name="Rectangle 30"/>
          <p:cNvSpPr/>
          <p:nvPr/>
        </p:nvSpPr>
        <p:spPr bwMode="gray">
          <a:xfrm>
            <a:off x="3299532" y="4986230"/>
            <a:ext cx="796997" cy="919315"/>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32" name="Rectangle 31"/>
          <p:cNvSpPr/>
          <p:nvPr/>
        </p:nvSpPr>
        <p:spPr bwMode="gray">
          <a:xfrm>
            <a:off x="4095894" y="4335096"/>
            <a:ext cx="796997" cy="1562107"/>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33" name="TextBox 32"/>
          <p:cNvSpPr txBox="1"/>
          <p:nvPr/>
        </p:nvSpPr>
        <p:spPr>
          <a:xfrm>
            <a:off x="5335869" y="4841230"/>
            <a:ext cx="1274008" cy="288147"/>
          </a:xfrm>
          <a:prstGeom prst="rect">
            <a:avLst/>
          </a:prstGeom>
          <a:noFill/>
        </p:spPr>
        <p:txBody>
          <a:bodyPr wrap="square" lIns="36000" tIns="36000" rIns="36000" bIns="36000" rtlCol="0">
            <a:spAutoFit/>
          </a:bodyPr>
          <a:lstStyle/>
          <a:p>
            <a:r>
              <a:rPr kumimoji="1" lang="is-IS" sz="1400" dirty="0" smtClean="0">
                <a:solidFill>
                  <a:srgbClr val="33464D"/>
                </a:solidFill>
                <a:latin typeface="Noto Sans CJK JP Medium" charset="-128"/>
                <a:ea typeface="Noto Sans CJK JP Medium" charset="-128"/>
                <a:cs typeface="Noto Sans CJK JP Medium" charset="-128"/>
              </a:rPr>
              <a:t>…</a:t>
            </a:r>
            <a:endParaRPr kumimoji="1" lang="en-US" sz="1400" dirty="0" smtClean="0">
              <a:solidFill>
                <a:srgbClr val="33464D"/>
              </a:solidFill>
              <a:latin typeface="Noto Sans CJK JP Medium" charset="-128"/>
              <a:ea typeface="Noto Sans CJK JP Medium" charset="-128"/>
              <a:cs typeface="Noto Sans CJK JP Medium" charset="-128"/>
            </a:endParaRPr>
          </a:p>
        </p:txBody>
      </p:sp>
      <p:sp>
        <p:nvSpPr>
          <p:cNvPr id="35" name="Rectangle 34"/>
          <p:cNvSpPr/>
          <p:nvPr/>
        </p:nvSpPr>
        <p:spPr bwMode="gray">
          <a:xfrm>
            <a:off x="6035422" y="4975881"/>
            <a:ext cx="796997" cy="919315"/>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36" name="Rectangle 35"/>
          <p:cNvSpPr/>
          <p:nvPr/>
        </p:nvSpPr>
        <p:spPr bwMode="gray">
          <a:xfrm>
            <a:off x="6832419" y="4335096"/>
            <a:ext cx="796997" cy="1554848"/>
          </a:xfrm>
          <a:prstGeom prst="rect">
            <a:avLst/>
          </a:prstGeom>
          <a:solidFill>
            <a:schemeClr val="tx2">
              <a:lumMod val="40000"/>
              <a:lumOff val="60000"/>
            </a:schemeClr>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38" name="TextBox 37"/>
          <p:cNvSpPr txBox="1"/>
          <p:nvPr/>
        </p:nvSpPr>
        <p:spPr>
          <a:xfrm>
            <a:off x="2674400" y="3691312"/>
            <a:ext cx="453266" cy="288147"/>
          </a:xfrm>
          <a:prstGeom prst="rect">
            <a:avLst/>
          </a:prstGeom>
          <a:noFill/>
        </p:spPr>
        <p:txBody>
          <a:bodyPr wrap="square" lIns="36000" tIns="36000" rIns="36000" bIns="36000" rtlCol="0">
            <a:spAutoFit/>
          </a:bodyPr>
          <a:lstStyle/>
          <a:p>
            <a:r>
              <a:rPr lang="en-US" sz="1400" dirty="0" smtClean="0">
                <a:solidFill>
                  <a:srgbClr val="33464D"/>
                </a:solidFill>
                <a:latin typeface="Noto Sans CJK JP Medium" charset="-128"/>
                <a:ea typeface="Noto Sans CJK JP Medium" charset="-128"/>
                <a:cs typeface="Noto Sans CJK JP Medium" charset="-128"/>
              </a:rPr>
              <a:t>1</a:t>
            </a:r>
            <a:r>
              <a:rPr lang="ja-JP" altLang="en-US" sz="1400" dirty="0" smtClean="0">
                <a:solidFill>
                  <a:srgbClr val="33464D"/>
                </a:solidFill>
                <a:latin typeface="Noto Sans CJK JP Medium" charset="-128"/>
                <a:ea typeface="Noto Sans CJK JP Medium" charset="-128"/>
                <a:cs typeface="Noto Sans CJK JP Medium" charset="-128"/>
              </a:rPr>
              <a:t>個</a:t>
            </a:r>
            <a:endParaRPr kumimoji="1" lang="en-US" sz="1400" dirty="0" smtClean="0">
              <a:solidFill>
                <a:srgbClr val="33464D"/>
              </a:solidFill>
              <a:latin typeface="Noto Sans CJK JP Medium" charset="-128"/>
              <a:ea typeface="Noto Sans CJK JP Medium" charset="-128"/>
              <a:cs typeface="Noto Sans CJK JP Medium" charset="-128"/>
            </a:endParaRPr>
          </a:p>
        </p:txBody>
      </p:sp>
      <p:sp>
        <p:nvSpPr>
          <p:cNvPr id="39" name="TextBox 38"/>
          <p:cNvSpPr txBox="1"/>
          <p:nvPr/>
        </p:nvSpPr>
        <p:spPr>
          <a:xfrm>
            <a:off x="4318579" y="3691312"/>
            <a:ext cx="351626" cy="288147"/>
          </a:xfrm>
          <a:prstGeom prst="rect">
            <a:avLst/>
          </a:prstGeom>
          <a:noFill/>
        </p:spPr>
        <p:txBody>
          <a:bodyPr wrap="none" lIns="36000" tIns="36000" rIns="36000" bIns="36000" rtlCol="0">
            <a:spAutoFit/>
          </a:bodyPr>
          <a:lstStyle/>
          <a:p>
            <a:r>
              <a:rPr kumimoji="1" lang="en-US" sz="1400" dirty="0" smtClean="0">
                <a:solidFill>
                  <a:srgbClr val="33464D"/>
                </a:solidFill>
                <a:latin typeface="Noto Sans CJK JP Medium" charset="-128"/>
                <a:ea typeface="Noto Sans CJK JP Medium" charset="-128"/>
                <a:cs typeface="Noto Sans CJK JP Medium" charset="-128"/>
              </a:rPr>
              <a:t>2</a:t>
            </a:r>
            <a:r>
              <a:rPr kumimoji="1" lang="ja-JP" altLang="en-US" sz="1400" dirty="0" smtClean="0">
                <a:solidFill>
                  <a:srgbClr val="33464D"/>
                </a:solidFill>
                <a:latin typeface="Noto Sans CJK JP Medium" charset="-128"/>
                <a:ea typeface="Noto Sans CJK JP Medium" charset="-128"/>
                <a:cs typeface="Noto Sans CJK JP Medium" charset="-128"/>
              </a:rPr>
              <a:t>個</a:t>
            </a:r>
            <a:endParaRPr kumimoji="1" lang="en-US" sz="1400" dirty="0" smtClean="0">
              <a:solidFill>
                <a:srgbClr val="33464D"/>
              </a:solidFill>
              <a:latin typeface="Noto Sans CJK JP Medium" charset="-128"/>
              <a:ea typeface="Noto Sans CJK JP Medium" charset="-128"/>
              <a:cs typeface="Noto Sans CJK JP Medium" charset="-128"/>
            </a:endParaRPr>
          </a:p>
        </p:txBody>
      </p:sp>
      <p:sp>
        <p:nvSpPr>
          <p:cNvPr id="40" name="Rectangle 39"/>
          <p:cNvSpPr/>
          <p:nvPr/>
        </p:nvSpPr>
        <p:spPr bwMode="gray">
          <a:xfrm>
            <a:off x="2901032" y="2253264"/>
            <a:ext cx="6025797" cy="786914"/>
          </a:xfrm>
          <a:prstGeom prst="rect">
            <a:avLst/>
          </a:prstGeom>
          <a:noFill/>
          <a:ln w="19050" cmpd="sng">
            <a:solidFill>
              <a:schemeClr val="accent6"/>
            </a:solidFill>
            <a:miter lim="800000"/>
            <a:headEnd/>
            <a:tailEnd/>
          </a:ln>
        </p:spPr>
        <p:txBody>
          <a:bodyPr rtlCol="0" anchor="ctr"/>
          <a:lstStyle/>
          <a:p>
            <a:pPr algn="ctr"/>
            <a:r>
              <a:rPr lang="ja-JP" altLang="en-US" sz="1600" dirty="0" smtClean="0">
                <a:solidFill>
                  <a:srgbClr val="33464D"/>
                </a:solidFill>
                <a:latin typeface="Noto Sans CJK JP Medium" charset="-128"/>
                <a:ea typeface="Noto Sans CJK JP Medium" charset="-128"/>
                <a:cs typeface="Noto Sans CJK JP Medium" charset="-128"/>
              </a:rPr>
              <a:t>リクエストを送るたびにタスクグループが増えていってしまう。</a:t>
            </a:r>
            <a:endParaRPr lang="en-US" sz="1600" dirty="0" smtClean="0">
              <a:solidFill>
                <a:srgbClr val="33464D"/>
              </a:solidFill>
              <a:latin typeface="Noto Sans CJK JP Medium" charset="-128"/>
              <a:ea typeface="Noto Sans CJK JP Medium" charset="-128"/>
              <a:cs typeface="Noto Sans CJK JP Medium" charset="-128"/>
            </a:endParaRPr>
          </a:p>
        </p:txBody>
      </p:sp>
      <p:sp>
        <p:nvSpPr>
          <p:cNvPr id="41" name="Rectangle 40"/>
          <p:cNvSpPr/>
          <p:nvPr/>
        </p:nvSpPr>
        <p:spPr bwMode="gray">
          <a:xfrm>
            <a:off x="2502535" y="4026403"/>
            <a:ext cx="796997" cy="617386"/>
          </a:xfrm>
          <a:prstGeom prst="rect">
            <a:avLst/>
          </a:prstGeom>
          <a:solidFill>
            <a:schemeClr val="accent6"/>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42" name="Rectangle 41"/>
          <p:cNvSpPr/>
          <p:nvPr/>
        </p:nvSpPr>
        <p:spPr bwMode="gray">
          <a:xfrm>
            <a:off x="4095893" y="4007759"/>
            <a:ext cx="796997" cy="617386"/>
          </a:xfrm>
          <a:prstGeom prst="rect">
            <a:avLst/>
          </a:prstGeom>
          <a:solidFill>
            <a:schemeClr val="accent6"/>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43" name="Rectangle 42"/>
          <p:cNvSpPr/>
          <p:nvPr/>
        </p:nvSpPr>
        <p:spPr bwMode="gray">
          <a:xfrm>
            <a:off x="6832419" y="4007776"/>
            <a:ext cx="796997" cy="617386"/>
          </a:xfrm>
          <a:prstGeom prst="rect">
            <a:avLst/>
          </a:prstGeom>
          <a:solidFill>
            <a:schemeClr val="accent6"/>
          </a:solidFill>
          <a:ln w="9525" cmpd="sng">
            <a:noFill/>
            <a:miter lim="800000"/>
            <a:headEnd/>
            <a:tailEnd/>
          </a:ln>
        </p:spPr>
        <p:txBody>
          <a:bodyPr rtlCol="0" anchor="ctr"/>
          <a:lstStyle/>
          <a:p>
            <a:pPr algn="ctr"/>
            <a:endParaRPr lang="en-US" sz="1050" dirty="0" smtClean="0">
              <a:solidFill>
                <a:schemeClr val="tx2">
                  <a:lumMod val="40000"/>
                  <a:lumOff val="60000"/>
                </a:schemeClr>
              </a:solidFill>
              <a:latin typeface="Noto Sans CJK JP Medium" charset="-128"/>
              <a:ea typeface="Noto Sans CJK JP Medium" charset="-128"/>
              <a:cs typeface="Noto Sans CJK JP Medium" charset="-128"/>
            </a:endParaRPr>
          </a:p>
        </p:txBody>
      </p:sp>
      <p:sp>
        <p:nvSpPr>
          <p:cNvPr id="44" name="TextBox 43"/>
          <p:cNvSpPr txBox="1"/>
          <p:nvPr/>
        </p:nvSpPr>
        <p:spPr>
          <a:xfrm>
            <a:off x="6987571" y="3693477"/>
            <a:ext cx="453266" cy="288147"/>
          </a:xfrm>
          <a:prstGeom prst="rect">
            <a:avLst/>
          </a:prstGeom>
          <a:noFill/>
        </p:spPr>
        <p:txBody>
          <a:bodyPr wrap="square" lIns="36000" tIns="36000" rIns="36000" bIns="36000" rtlCol="0">
            <a:spAutoFit/>
          </a:bodyPr>
          <a:lstStyle/>
          <a:p>
            <a:r>
              <a:rPr lang="en-US" altLang="ja-JP" sz="1400" dirty="0" smtClean="0">
                <a:solidFill>
                  <a:srgbClr val="33464D"/>
                </a:solidFill>
                <a:latin typeface="Noto Sans CJK JP Medium" charset="-128"/>
                <a:ea typeface="Noto Sans CJK JP Medium" charset="-128"/>
                <a:cs typeface="Noto Sans CJK JP Medium" charset="-128"/>
              </a:rPr>
              <a:t>48</a:t>
            </a:r>
            <a:r>
              <a:rPr lang="ja-JP" altLang="en-US" sz="1400" dirty="0" smtClean="0">
                <a:solidFill>
                  <a:srgbClr val="33464D"/>
                </a:solidFill>
                <a:latin typeface="Noto Sans CJK JP Medium" charset="-128"/>
                <a:ea typeface="Noto Sans CJK JP Medium" charset="-128"/>
                <a:cs typeface="Noto Sans CJK JP Medium" charset="-128"/>
              </a:rPr>
              <a:t>個</a:t>
            </a:r>
            <a:endParaRPr kumimoji="1" lang="en-US" sz="1400" dirty="0" smtClean="0">
              <a:solidFill>
                <a:srgbClr val="33464D"/>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209138007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タスクグループの上限問題</a:t>
            </a:r>
            <a:endParaRPr lang="en-US" b="0" dirty="0">
              <a:latin typeface="Noto Sans CJK JP Medium" charset="-128"/>
              <a:ea typeface="Noto Sans CJK JP Medium" charset="-128"/>
              <a:cs typeface="Noto Sans CJK JP Medium" charset="-128"/>
            </a:endParaRP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7967" y="1056996"/>
            <a:ext cx="9457691" cy="2466202"/>
          </a:xfrm>
        </p:spPr>
      </p:pic>
      <p:sp>
        <p:nvSpPr>
          <p:cNvPr id="6" name="Rectangle 5"/>
          <p:cNvSpPr/>
          <p:nvPr/>
        </p:nvSpPr>
        <p:spPr bwMode="gray">
          <a:xfrm>
            <a:off x="247966" y="2952054"/>
            <a:ext cx="9457691" cy="488376"/>
          </a:xfrm>
          <a:prstGeom prst="rect">
            <a:avLst/>
          </a:prstGeom>
          <a:noFill/>
          <a:ln w="19050" cmpd="sng">
            <a:solidFill>
              <a:schemeClr val="accent6"/>
            </a:solidFill>
            <a:miter lim="800000"/>
            <a:headEnd/>
            <a:tailEnd/>
          </a:ln>
        </p:spPr>
        <p:txBody>
          <a:bodyPr rtlCol="0" anchor="ctr"/>
          <a:lstStyle/>
          <a:p>
            <a:pPr algn="ctr"/>
            <a:endParaRPr lang="en-US" sz="1050" dirty="0" smtClean="0">
              <a:solidFill>
                <a:srgbClr val="33464D"/>
              </a:solidFill>
              <a:latin typeface="Noto Sans CJK JP Medium" charset="-128"/>
              <a:ea typeface="Noto Sans CJK JP Medium" charset="-128"/>
              <a:cs typeface="Noto Sans CJK JP Medium" charset="-128"/>
            </a:endParaRPr>
          </a:p>
        </p:txBody>
      </p:sp>
      <p:sp>
        <p:nvSpPr>
          <p:cNvPr id="7" name="Rectangular Callout 6"/>
          <p:cNvSpPr/>
          <p:nvPr/>
        </p:nvSpPr>
        <p:spPr bwMode="gray">
          <a:xfrm>
            <a:off x="1405890" y="4286250"/>
            <a:ext cx="3874770" cy="685800"/>
          </a:xfrm>
          <a:prstGeom prst="wedgeRectCallout">
            <a:avLst>
              <a:gd name="adj1" fmla="val -23964"/>
              <a:gd name="adj2" fmla="val -164389"/>
            </a:avLst>
          </a:prstGeom>
          <a:noFill/>
          <a:ln w="19050" cmpd="sng">
            <a:solidFill>
              <a:schemeClr val="tx2">
                <a:lumMod val="60000"/>
                <a:lumOff val="40000"/>
              </a:schemeClr>
            </a:solidFill>
            <a:miter lim="800000"/>
            <a:headEnd/>
            <a:tailEnd/>
          </a:ln>
        </p:spPr>
        <p:txBody>
          <a:bodyPr rtlCol="0" anchor="ctr"/>
          <a:lstStyle/>
          <a:p>
            <a:pPr algn="ctr"/>
            <a:r>
              <a:rPr lang="ja-JP" altLang="en-US" sz="2000" dirty="0" smtClean="0">
                <a:solidFill>
                  <a:srgbClr val="33464D"/>
                </a:solidFill>
                <a:latin typeface="Noto Sans CJK JP Medium" charset="-128"/>
                <a:ea typeface="Noto Sans CJK JP Medium" charset="-128"/>
                <a:cs typeface="Noto Sans CJK JP Medium" charset="-128"/>
              </a:rPr>
              <a:t>これがどんどん増えていく</a:t>
            </a:r>
            <a:endParaRPr lang="en-US" sz="2000" dirty="0" smtClean="0">
              <a:solidFill>
                <a:srgbClr val="33464D"/>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15777077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タスクグループの上限問題解決案</a:t>
            </a:r>
            <a:endParaRPr lang="en-US" b="0" dirty="0">
              <a:latin typeface="Noto Sans CJK JP Medium" charset="-128"/>
              <a:ea typeface="Noto Sans CJK JP Medium" charset="-128"/>
              <a:cs typeface="Noto Sans CJK JP Medium" charset="-128"/>
            </a:endParaRPr>
          </a:p>
        </p:txBody>
      </p:sp>
      <p:sp>
        <p:nvSpPr>
          <p:cNvPr id="3" name="Content Placeholder 2"/>
          <p:cNvSpPr>
            <a:spLocks noGrp="1"/>
          </p:cNvSpPr>
          <p:nvPr>
            <p:ph idx="1"/>
          </p:nvPr>
        </p:nvSpPr>
        <p:spPr/>
        <p:txBody>
          <a:bodyPr/>
          <a:lstStyle/>
          <a:p>
            <a:r>
              <a:rPr lang="ja-JP" altLang="en-US" b="0" dirty="0" smtClean="0">
                <a:latin typeface="Noto Sans CJK JP Medium" charset="-128"/>
                <a:ea typeface="Noto Sans CJK JP Medium" charset="-128"/>
                <a:cs typeface="Noto Sans CJK JP Medium" charset="-128"/>
              </a:rPr>
              <a:t>タスクグループの上限が</a:t>
            </a:r>
            <a:r>
              <a:rPr lang="en-US" altLang="ja-JP" b="0" dirty="0" smtClean="0">
                <a:solidFill>
                  <a:schemeClr val="accent6"/>
                </a:solidFill>
                <a:latin typeface="Noto Sans CJK JP Medium" charset="-128"/>
                <a:ea typeface="Noto Sans CJK JP Medium" charset="-128"/>
                <a:cs typeface="Noto Sans CJK JP Medium" charset="-128"/>
              </a:rPr>
              <a:t>48</a:t>
            </a:r>
            <a:r>
              <a:rPr lang="ja-JP" altLang="en-US" b="0" dirty="0" smtClean="0">
                <a:solidFill>
                  <a:schemeClr val="accent6"/>
                </a:solidFill>
                <a:latin typeface="Noto Sans CJK JP Medium" charset="-128"/>
                <a:ea typeface="Noto Sans CJK JP Medium" charset="-128"/>
                <a:cs typeface="Noto Sans CJK JP Medium" charset="-128"/>
              </a:rPr>
              <a:t>個</a:t>
            </a:r>
            <a:r>
              <a:rPr lang="ja-JP" altLang="en-US" b="0" dirty="0" smtClean="0">
                <a:latin typeface="Noto Sans CJK JP Medium" charset="-128"/>
                <a:ea typeface="Noto Sans CJK JP Medium" charset="-128"/>
                <a:cs typeface="Noto Sans CJK JP Medium" charset="-128"/>
              </a:rPr>
              <a:t>まで。</a:t>
            </a:r>
            <a:endParaRPr lang="en-US" altLang="ja-JP" b="0" dirty="0" smtClean="0">
              <a:latin typeface="Noto Sans CJK JP Medium" charset="-128"/>
              <a:ea typeface="Noto Sans CJK JP Medium" charset="-128"/>
              <a:cs typeface="Noto Sans CJK JP Medium" charset="-128"/>
            </a:endParaRPr>
          </a:p>
          <a:p>
            <a:pPr lvl="1"/>
            <a:r>
              <a:rPr lang="ja-JP" altLang="en-US" b="0" dirty="0" smtClean="0">
                <a:latin typeface="Noto Sans CJK JP Medium" charset="-128"/>
                <a:ea typeface="Noto Sans CJK JP Medium" charset="-128"/>
                <a:cs typeface="Noto Sans CJK JP Medium" charset="-128"/>
              </a:rPr>
              <a:t>値段を細かく上げていくとすぐに上限に達してしまう。</a:t>
            </a:r>
            <a:endParaRPr lang="en-US" altLang="ja-JP" b="0" dirty="0" smtClean="0">
              <a:latin typeface="Noto Sans CJK JP Medium" charset="-128"/>
              <a:ea typeface="Noto Sans CJK JP Medium" charset="-128"/>
              <a:cs typeface="Noto Sans CJK JP Medium" charset="-128"/>
            </a:endParaRPr>
          </a:p>
          <a:p>
            <a:pPr lvl="1"/>
            <a:endParaRPr lang="en-US" altLang="ja-JP" b="0" dirty="0">
              <a:latin typeface="Noto Sans CJK JP Medium" charset="-128"/>
              <a:ea typeface="Noto Sans CJK JP Medium" charset="-128"/>
              <a:cs typeface="Noto Sans CJK JP Medium" charset="-128"/>
            </a:endParaRPr>
          </a:p>
          <a:p>
            <a:r>
              <a:rPr lang="ja-JP" altLang="en-US" b="0" dirty="0" smtClean="0">
                <a:solidFill>
                  <a:schemeClr val="tx1"/>
                </a:solidFill>
                <a:latin typeface="Noto Sans CJK JP Medium" charset="-128"/>
                <a:ea typeface="Noto Sans CJK JP Medium" charset="-128"/>
                <a:cs typeface="Noto Sans CJK JP Medium" charset="-128"/>
              </a:rPr>
              <a:t>タスクグループが削除できない。</a:t>
            </a:r>
            <a:endParaRPr lang="en-US" altLang="ja-JP" b="0" dirty="0" smtClean="0">
              <a:solidFill>
                <a:schemeClr val="tx1"/>
              </a:solidFill>
              <a:latin typeface="Noto Sans CJK JP Medium" charset="-128"/>
              <a:ea typeface="Noto Sans CJK JP Medium" charset="-128"/>
              <a:cs typeface="Noto Sans CJK JP Medium" charset="-128"/>
            </a:endParaRPr>
          </a:p>
          <a:p>
            <a:pPr lvl="1"/>
            <a:r>
              <a:rPr lang="ja-JP" altLang="en-US" b="0" dirty="0" smtClean="0">
                <a:solidFill>
                  <a:schemeClr val="tx1"/>
                </a:solidFill>
                <a:latin typeface="Noto Sans CJK JP Medium" charset="-128"/>
                <a:ea typeface="Noto Sans CJK JP Medium" charset="-128"/>
                <a:cs typeface="Noto Sans CJK JP Medium" charset="-128"/>
              </a:rPr>
              <a:t>困った。</a:t>
            </a:r>
            <a:endParaRPr lang="en-US" altLang="ja-JP" b="0" dirty="0" smtClean="0">
              <a:solidFill>
                <a:schemeClr val="tx1"/>
              </a:solidFill>
              <a:latin typeface="Noto Sans CJK JP Medium" charset="-128"/>
              <a:ea typeface="Noto Sans CJK JP Medium" charset="-128"/>
              <a:cs typeface="Noto Sans CJK JP Medium" charset="-128"/>
            </a:endParaRPr>
          </a:p>
          <a:p>
            <a:pPr lvl="1"/>
            <a:endParaRPr lang="en-US" altLang="ja-JP" b="0" dirty="0">
              <a:solidFill>
                <a:schemeClr val="bg1">
                  <a:lumMod val="85000"/>
                </a:schemeClr>
              </a:solidFill>
              <a:latin typeface="Noto Sans CJK JP Medium" charset="-128"/>
              <a:ea typeface="Noto Sans CJK JP Medium" charset="-128"/>
              <a:cs typeface="Noto Sans CJK JP Medium" charset="-128"/>
            </a:endParaRPr>
          </a:p>
          <a:p>
            <a:r>
              <a:rPr lang="ja-JP" altLang="en-US" b="0" dirty="0" smtClean="0">
                <a:solidFill>
                  <a:schemeClr val="bg1">
                    <a:lumMod val="85000"/>
                  </a:schemeClr>
                </a:solidFill>
                <a:latin typeface="Noto Sans CJK JP Medium" charset="-128"/>
                <a:ea typeface="Noto Sans CJK JP Medium" charset="-128"/>
                <a:cs typeface="Noto Sans CJK JP Medium" charset="-128"/>
              </a:rPr>
              <a:t>スポットインスタンスへのリクエストが非同期（当たり前ですが）。</a:t>
            </a:r>
            <a:endParaRPr lang="en-US" altLang="ja-JP" b="0" dirty="0" smtClean="0">
              <a:solidFill>
                <a:schemeClr val="bg1">
                  <a:lumMod val="85000"/>
                </a:schemeClr>
              </a:solidFill>
              <a:latin typeface="Noto Sans CJK JP Medium" charset="-128"/>
              <a:ea typeface="Noto Sans CJK JP Medium" charset="-128"/>
              <a:cs typeface="Noto Sans CJK JP Medium" charset="-128"/>
            </a:endParaRPr>
          </a:p>
          <a:p>
            <a:pPr lvl="1"/>
            <a:r>
              <a:rPr lang="ja-JP" altLang="en-US" b="0" dirty="0" smtClean="0">
                <a:solidFill>
                  <a:schemeClr val="bg1">
                    <a:lumMod val="85000"/>
                  </a:schemeClr>
                </a:solidFill>
                <a:latin typeface="Noto Sans CJK JP Medium" charset="-128"/>
                <a:ea typeface="Noto Sans CJK JP Medium" charset="-128"/>
                <a:cs typeface="Noto Sans CJK JP Medium" charset="-128"/>
              </a:rPr>
              <a:t>スポットインスタンスのリクエスト結果を待たなくてはいけない。</a:t>
            </a:r>
            <a:r>
              <a:rPr lang="en-US" altLang="ja-JP" b="0" dirty="0">
                <a:solidFill>
                  <a:schemeClr val="bg1">
                    <a:lumMod val="85000"/>
                  </a:schemeClr>
                </a:solidFill>
                <a:latin typeface="Noto Sans CJK JP Medium" charset="-128"/>
                <a:ea typeface="Noto Sans CJK JP Medium" charset="-128"/>
                <a:cs typeface="Noto Sans CJK JP Medium" charset="-128"/>
              </a:rPr>
              <a:t/>
            </a:r>
            <a:br>
              <a:rPr lang="en-US" altLang="ja-JP" b="0" dirty="0">
                <a:solidFill>
                  <a:schemeClr val="bg1">
                    <a:lumMod val="85000"/>
                  </a:schemeClr>
                </a:solidFill>
                <a:latin typeface="Noto Sans CJK JP Medium" charset="-128"/>
                <a:ea typeface="Noto Sans CJK JP Medium" charset="-128"/>
                <a:cs typeface="Noto Sans CJK JP Medium" charset="-128"/>
              </a:rPr>
            </a:br>
            <a:r>
              <a:rPr lang="ja-JP" altLang="en-US" b="0" dirty="0" smtClean="0">
                <a:solidFill>
                  <a:schemeClr val="bg1">
                    <a:lumMod val="85000"/>
                  </a:schemeClr>
                </a:solidFill>
                <a:latin typeface="Noto Sans CJK JP Medium" charset="-128"/>
                <a:ea typeface="Noto Sans CJK JP Medium" charset="-128"/>
                <a:cs typeface="Noto Sans CJK JP Medium" charset="-128"/>
              </a:rPr>
              <a:t>（</a:t>
            </a:r>
            <a:r>
              <a:rPr lang="en-US" altLang="ja-JP" b="0" dirty="0" smtClean="0">
                <a:solidFill>
                  <a:schemeClr val="bg1">
                    <a:lumMod val="85000"/>
                  </a:schemeClr>
                </a:solidFill>
                <a:latin typeface="Noto Sans CJK JP Medium" charset="-128"/>
                <a:ea typeface="Noto Sans CJK JP Medium" charset="-128"/>
                <a:cs typeface="Noto Sans CJK JP Medium" charset="-128"/>
              </a:rPr>
              <a:t>10</a:t>
            </a:r>
            <a:r>
              <a:rPr lang="ja-JP" altLang="en-US" b="0" dirty="0" smtClean="0">
                <a:solidFill>
                  <a:schemeClr val="bg1">
                    <a:lumMod val="85000"/>
                  </a:schemeClr>
                </a:solidFill>
                <a:latin typeface="Noto Sans CJK JP Medium" charset="-128"/>
                <a:ea typeface="Noto Sans CJK JP Medium" charset="-128"/>
                <a:cs typeface="Noto Sans CJK JP Medium" charset="-128"/>
              </a:rPr>
              <a:t>分前後）</a:t>
            </a:r>
            <a:endParaRPr lang="en-US" altLang="ja-JP" b="0" dirty="0" smtClean="0">
              <a:solidFill>
                <a:schemeClr val="bg1">
                  <a:lumMod val="85000"/>
                </a:schemeClr>
              </a:solidFill>
              <a:latin typeface="Noto Sans CJK JP Medium" charset="-128"/>
              <a:ea typeface="Noto Sans CJK JP Medium" charset="-128"/>
              <a:cs typeface="Noto Sans CJK JP Medium" charset="-128"/>
            </a:endParaRPr>
          </a:p>
        </p:txBody>
      </p:sp>
      <p:sp>
        <p:nvSpPr>
          <p:cNvPr id="5" name="Rounded Rectangle 4"/>
          <p:cNvSpPr/>
          <p:nvPr/>
        </p:nvSpPr>
        <p:spPr bwMode="gray">
          <a:xfrm>
            <a:off x="725797" y="4120442"/>
            <a:ext cx="8430594" cy="1185333"/>
          </a:xfrm>
          <a:prstGeom prst="roundRect">
            <a:avLst/>
          </a:prstGeom>
          <a:noFill/>
          <a:ln w="19050" cmpd="sng">
            <a:solidFill>
              <a:schemeClr val="accent1"/>
            </a:solidFill>
            <a:miter lim="800000"/>
            <a:headEnd/>
            <a:tailEnd/>
          </a:ln>
        </p:spPr>
        <p:txBody>
          <a:bodyPr rtlCol="0" anchor="ctr"/>
          <a:lstStyle/>
          <a:p>
            <a:pPr algn="ctr"/>
            <a:r>
              <a:rPr lang="ja-JP" altLang="en-US" dirty="0" smtClean="0">
                <a:solidFill>
                  <a:schemeClr val="accent6"/>
                </a:solidFill>
                <a:latin typeface="Noto Sans CJK JP Medium" charset="-128"/>
                <a:ea typeface="Noto Sans CJK JP Medium" charset="-128"/>
                <a:cs typeface="Noto Sans CJK JP Medium" charset="-128"/>
              </a:rPr>
              <a:t>値段をある程度固定にする。</a:t>
            </a:r>
            <a:endParaRPr lang="en-US" altLang="ja-JP" dirty="0">
              <a:solidFill>
                <a:schemeClr val="accent6"/>
              </a:solidFill>
              <a:latin typeface="Noto Sans CJK JP Medium" charset="-128"/>
              <a:ea typeface="Noto Sans CJK JP Medium" charset="-128"/>
              <a:cs typeface="Noto Sans CJK JP Medium" charset="-128"/>
            </a:endParaRPr>
          </a:p>
          <a:p>
            <a:pPr algn="ctr"/>
            <a:r>
              <a:rPr lang="ja-JP" altLang="en-US" dirty="0" smtClean="0">
                <a:solidFill>
                  <a:schemeClr val="accent6"/>
                </a:solidFill>
                <a:latin typeface="Noto Sans CJK JP Medium" charset="-128"/>
                <a:ea typeface="Noto Sans CJK JP Medium" charset="-128"/>
                <a:cs typeface="Noto Sans CJK JP Medium" charset="-128"/>
              </a:rPr>
              <a:t>インスタンスタイプと値段が同じグループは使い回す。</a:t>
            </a:r>
            <a:endParaRPr lang="en-US" altLang="ja-JP" dirty="0" smtClean="0">
              <a:solidFill>
                <a:schemeClr val="accent6"/>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24062878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タスクグループの上限問題解決案</a:t>
            </a:r>
            <a:endParaRPr lang="en-US" b="0" dirty="0">
              <a:latin typeface="Noto Sans CJK JP Medium" charset="-128"/>
              <a:ea typeface="Noto Sans CJK JP Medium" charset="-128"/>
              <a:cs typeface="Noto Sans CJK JP Medium" charset="-128"/>
            </a:endParaRPr>
          </a:p>
        </p:txBody>
      </p:sp>
      <p:sp>
        <p:nvSpPr>
          <p:cNvPr id="3" name="Content Placeholder 2"/>
          <p:cNvSpPr>
            <a:spLocks noGrp="1"/>
          </p:cNvSpPr>
          <p:nvPr>
            <p:ph idx="1"/>
          </p:nvPr>
        </p:nvSpPr>
        <p:spPr/>
        <p:txBody>
          <a:bodyPr/>
          <a:lstStyle/>
          <a:p>
            <a:r>
              <a:rPr lang="ja-JP" altLang="en-US" b="0" dirty="0" smtClean="0">
                <a:latin typeface="Noto Sans CJK JP Medium" charset="-128"/>
                <a:ea typeface="Noto Sans CJK JP Medium" charset="-128"/>
                <a:cs typeface="Noto Sans CJK JP Medium" charset="-128"/>
              </a:rPr>
              <a:t>現状使用している</a:t>
            </a:r>
            <a:r>
              <a:rPr lang="en-US" altLang="ja-JP" b="0" dirty="0" smtClean="0">
                <a:latin typeface="Noto Sans CJK JP Medium" charset="-128"/>
                <a:ea typeface="Noto Sans CJK JP Medium" charset="-128"/>
                <a:cs typeface="Noto Sans CJK JP Medium" charset="-128"/>
              </a:rPr>
              <a:t> or </a:t>
            </a:r>
            <a:r>
              <a:rPr lang="ja-JP" altLang="en-US" b="0" dirty="0" smtClean="0">
                <a:latin typeface="Noto Sans CJK JP Medium" charset="-128"/>
                <a:ea typeface="Noto Sans CJK JP Medium" charset="-128"/>
                <a:cs typeface="Noto Sans CJK JP Medium" charset="-128"/>
              </a:rPr>
              <a:t>使用する予定のインスタンスタイプは</a:t>
            </a:r>
            <a:r>
              <a:rPr lang="en-US" altLang="ja-JP" b="0" dirty="0">
                <a:latin typeface="Noto Sans CJK JP Medium" charset="-128"/>
                <a:ea typeface="Noto Sans CJK JP Medium" charset="-128"/>
                <a:cs typeface="Noto Sans CJK JP Medium" charset="-128"/>
              </a:rPr>
              <a:t>4</a:t>
            </a:r>
            <a:r>
              <a:rPr lang="ja-JP" altLang="en-US" b="0" dirty="0" smtClean="0">
                <a:latin typeface="Noto Sans CJK JP Medium" charset="-128"/>
                <a:ea typeface="Noto Sans CJK JP Medium" charset="-128"/>
                <a:cs typeface="Noto Sans CJK JP Medium" charset="-128"/>
              </a:rPr>
              <a:t>種類。</a:t>
            </a:r>
            <a:endParaRPr lang="en-US" altLang="ja-JP" b="0" dirty="0" smtClean="0">
              <a:latin typeface="Noto Sans CJK JP Medium" charset="-128"/>
              <a:ea typeface="Noto Sans CJK JP Medium" charset="-128"/>
              <a:cs typeface="Noto Sans CJK JP Medium" charset="-128"/>
            </a:endParaRPr>
          </a:p>
          <a:p>
            <a:pPr lvl="1"/>
            <a:r>
              <a:rPr lang="en-US" altLang="ja-JP" b="0" dirty="0" smtClean="0">
                <a:latin typeface="Noto Sans CJK JP Medium" charset="-128"/>
                <a:ea typeface="Noto Sans CJK JP Medium" charset="-128"/>
                <a:cs typeface="Noto Sans CJK JP Medium" charset="-128"/>
              </a:rPr>
              <a:t>r3.xlarge</a:t>
            </a:r>
          </a:p>
          <a:p>
            <a:pPr lvl="1"/>
            <a:r>
              <a:rPr lang="en-US" altLang="ja-JP" b="0" dirty="0" smtClean="0">
                <a:latin typeface="Noto Sans CJK JP Medium" charset="-128"/>
                <a:ea typeface="Noto Sans CJK JP Medium" charset="-128"/>
                <a:cs typeface="Noto Sans CJK JP Medium" charset="-128"/>
              </a:rPr>
              <a:t>r3.2xlarge</a:t>
            </a:r>
          </a:p>
          <a:p>
            <a:pPr lvl="1"/>
            <a:r>
              <a:rPr lang="en-US" altLang="ja-JP" b="0" dirty="0">
                <a:latin typeface="Noto Sans CJK JP Medium" charset="-128"/>
                <a:ea typeface="Noto Sans CJK JP Medium" charset="-128"/>
                <a:cs typeface="Noto Sans CJK JP Medium" charset="-128"/>
              </a:rPr>
              <a:t>r</a:t>
            </a:r>
            <a:r>
              <a:rPr lang="en-US" altLang="ja-JP" b="0" dirty="0" smtClean="0">
                <a:latin typeface="Noto Sans CJK JP Medium" charset="-128"/>
                <a:ea typeface="Noto Sans CJK JP Medium" charset="-128"/>
                <a:cs typeface="Noto Sans CJK JP Medium" charset="-128"/>
              </a:rPr>
              <a:t>3.4xlarge</a:t>
            </a:r>
          </a:p>
          <a:p>
            <a:pPr lvl="1"/>
            <a:r>
              <a:rPr lang="en-US" altLang="ja-JP" b="0" dirty="0" smtClean="0">
                <a:latin typeface="Noto Sans CJK JP Medium" charset="-128"/>
                <a:ea typeface="Noto Sans CJK JP Medium" charset="-128"/>
                <a:cs typeface="Noto Sans CJK JP Medium" charset="-128"/>
              </a:rPr>
              <a:t>r3.8xlarge</a:t>
            </a:r>
          </a:p>
          <a:p>
            <a:pPr lvl="1"/>
            <a:endParaRPr lang="en-US" altLang="ja-JP" b="0" dirty="0">
              <a:latin typeface="Noto Sans CJK JP Medium" charset="-128"/>
              <a:ea typeface="Noto Sans CJK JP Medium" charset="-128"/>
              <a:cs typeface="Noto Sans CJK JP Medium" charset="-128"/>
            </a:endParaRPr>
          </a:p>
          <a:p>
            <a:r>
              <a:rPr lang="ja-JP" altLang="en-US" b="0" dirty="0" smtClean="0">
                <a:latin typeface="Noto Sans CJK JP Medium" charset="-128"/>
                <a:ea typeface="Noto Sans CJK JP Medium" charset="-128"/>
                <a:cs typeface="Noto Sans CJK JP Medium" charset="-128"/>
              </a:rPr>
              <a:t>オンデマンドの価格を分割して値段をある程度固定化する。</a:t>
            </a:r>
            <a:endParaRPr lang="en-US" altLang="ja-JP" b="0" dirty="0" smtClean="0">
              <a:latin typeface="Noto Sans CJK JP Medium" charset="-128"/>
              <a:ea typeface="Noto Sans CJK JP Medium" charset="-128"/>
              <a:cs typeface="Noto Sans CJK JP Medium" charset="-128"/>
            </a:endParaRPr>
          </a:p>
          <a:p>
            <a:pPr lvl="1"/>
            <a:r>
              <a:rPr lang="en-US" altLang="ja-JP" b="0" dirty="0">
                <a:latin typeface="Noto Sans CJK JP Medium" charset="-128"/>
                <a:ea typeface="Noto Sans CJK JP Medium" charset="-128"/>
                <a:cs typeface="Noto Sans CJK JP Medium" charset="-128"/>
              </a:rPr>
              <a:t>e</a:t>
            </a:r>
            <a:r>
              <a:rPr lang="en-US" altLang="ja-JP" b="0" dirty="0" smtClean="0">
                <a:latin typeface="Noto Sans CJK JP Medium" charset="-128"/>
                <a:ea typeface="Noto Sans CJK JP Medium" charset="-128"/>
                <a:cs typeface="Noto Sans CJK JP Medium" charset="-128"/>
              </a:rPr>
              <a:t>.g. r3.2xlarge</a:t>
            </a:r>
            <a:r>
              <a:rPr lang="ja-JP" altLang="en-US" b="0" dirty="0" smtClean="0">
                <a:latin typeface="Noto Sans CJK JP Medium" charset="-128"/>
                <a:ea typeface="Noto Sans CJK JP Medium" charset="-128"/>
                <a:cs typeface="Noto Sans CJK JP Medium" charset="-128"/>
              </a:rPr>
              <a:t>の場合</a:t>
            </a:r>
            <a:endParaRPr lang="en-US" altLang="ja-JP" b="0" dirty="0" smtClean="0">
              <a:latin typeface="Noto Sans CJK JP Medium" charset="-128"/>
              <a:ea typeface="Noto Sans CJK JP Medium" charset="-128"/>
              <a:cs typeface="Noto Sans CJK JP Medium" charset="-128"/>
            </a:endParaRPr>
          </a:p>
        </p:txBody>
      </p:sp>
      <p:graphicFrame>
        <p:nvGraphicFramePr>
          <p:cNvPr id="5" name="Table 4"/>
          <p:cNvGraphicFramePr>
            <a:graphicFrameLocks noGrp="1"/>
          </p:cNvGraphicFramePr>
          <p:nvPr>
            <p:extLst>
              <p:ext uri="{D42A27DB-BD31-4B8C-83A1-F6EECF244321}">
                <p14:modId xmlns:p14="http://schemas.microsoft.com/office/powerpoint/2010/main" val="1878303494"/>
              </p:ext>
            </p:extLst>
          </p:nvPr>
        </p:nvGraphicFramePr>
        <p:xfrm>
          <a:off x="1674813" y="4017963"/>
          <a:ext cx="6604000" cy="1854200"/>
        </p:xfrm>
        <a:graphic>
          <a:graphicData uri="http://schemas.openxmlformats.org/drawingml/2006/table">
            <a:tbl>
              <a:tblPr firstRow="1" bandRow="1">
                <a:tableStyleId>{5C22544A-7EE6-4342-B048-85BDC9FD1C3A}</a:tableStyleId>
              </a:tblPr>
              <a:tblGrid>
                <a:gridCol w="3302000"/>
                <a:gridCol w="3302000"/>
              </a:tblGrid>
              <a:tr h="370840">
                <a:tc>
                  <a:txBody>
                    <a:bodyPr/>
                    <a:lstStyle/>
                    <a:p>
                      <a:r>
                        <a:rPr lang="ja-JP" altLang="en-US" dirty="0" smtClean="0"/>
                        <a:t>オンデマンド価格</a:t>
                      </a:r>
                      <a:endParaRPr lang="en-US" dirty="0"/>
                    </a:p>
                  </a:txBody>
                  <a:tcPr/>
                </a:tc>
                <a:tc>
                  <a:txBody>
                    <a:bodyPr/>
                    <a:lstStyle/>
                    <a:p>
                      <a:r>
                        <a:rPr lang="ja-JP" altLang="en-US" dirty="0" smtClean="0"/>
                        <a:t>スポットインスタンス価格</a:t>
                      </a:r>
                      <a:endParaRPr lang="en-US" dirty="0"/>
                    </a:p>
                  </a:txBody>
                  <a:tcPr/>
                </a:tc>
              </a:tr>
              <a:tr h="370840">
                <a:tc rowSpan="4">
                  <a:txBody>
                    <a:bodyPr/>
                    <a:lstStyle/>
                    <a:p>
                      <a:pPr algn="l"/>
                      <a:r>
                        <a:rPr lang="en-US" dirty="0" smtClean="0"/>
                        <a:t>$ 0.798</a:t>
                      </a:r>
                      <a:endParaRPr lang="en-US" dirty="0"/>
                    </a:p>
                  </a:txBody>
                  <a:tcPr anchor="ctr"/>
                </a:tc>
                <a:tc>
                  <a:txBody>
                    <a:bodyPr/>
                    <a:lstStyle/>
                    <a:p>
                      <a:r>
                        <a:rPr lang="en-US" dirty="0" smtClean="0"/>
                        <a:t>0.798</a:t>
                      </a:r>
                      <a:r>
                        <a:rPr lang="en-US" baseline="0" dirty="0" smtClean="0"/>
                        <a:t> * 10% = </a:t>
                      </a:r>
                      <a:r>
                        <a:rPr lang="en-US" baseline="0" dirty="0" smtClean="0">
                          <a:solidFill>
                            <a:schemeClr val="accent6"/>
                          </a:solidFill>
                        </a:rPr>
                        <a:t>$ 0.0798</a:t>
                      </a:r>
                      <a:endParaRPr lang="en-US" dirty="0" smtClean="0">
                        <a:solidFill>
                          <a:schemeClr val="accent6"/>
                        </a:solidFill>
                      </a:endParaRPr>
                    </a:p>
                  </a:txBody>
                  <a:tcPr/>
                </a:tc>
              </a:tr>
              <a:tr h="370840">
                <a:tc vMerge="1">
                  <a:txBody>
                    <a:bodyPr/>
                    <a:lstStyle/>
                    <a:p>
                      <a:endParaRPr lang="en-US" dirty="0"/>
                    </a:p>
                  </a:txBody>
                  <a:tcPr/>
                </a:tc>
                <a:tc>
                  <a:txBody>
                    <a:bodyPr/>
                    <a:lstStyle/>
                    <a:p>
                      <a:r>
                        <a:rPr lang="en-US" dirty="0" smtClean="0"/>
                        <a:t>0.798</a:t>
                      </a:r>
                      <a:r>
                        <a:rPr lang="en-US" baseline="0" dirty="0" smtClean="0"/>
                        <a:t> * 20% = </a:t>
                      </a:r>
                      <a:r>
                        <a:rPr lang="en-US" baseline="0" dirty="0" smtClean="0">
                          <a:solidFill>
                            <a:schemeClr val="accent6"/>
                          </a:solidFill>
                        </a:rPr>
                        <a:t>$ 0.1596</a:t>
                      </a:r>
                      <a:endParaRPr lang="en-US" dirty="0">
                        <a:solidFill>
                          <a:schemeClr val="accent6"/>
                        </a:solidFill>
                      </a:endParaRPr>
                    </a:p>
                  </a:txBody>
                  <a:tcPr/>
                </a:tc>
              </a:tr>
              <a:tr h="370840">
                <a:tc vMerge="1">
                  <a:txBody>
                    <a:bodyPr/>
                    <a:lstStyle/>
                    <a:p>
                      <a:endParaRPr lang="en-US" dirty="0"/>
                    </a:p>
                  </a:txBody>
                  <a:tcPr/>
                </a:tc>
                <a:tc>
                  <a:txBody>
                    <a:bodyPr/>
                    <a:lstStyle/>
                    <a:p>
                      <a:r>
                        <a:rPr lang="is-IS" dirty="0" smtClean="0"/>
                        <a:t>…</a:t>
                      </a:r>
                      <a:endParaRPr lang="en-US" dirty="0"/>
                    </a:p>
                  </a:txBody>
                  <a:tcPr/>
                </a:tc>
              </a:tr>
              <a:tr h="370840">
                <a:tc vMerge="1">
                  <a:txBody>
                    <a:bodyPr/>
                    <a:lstStyle/>
                    <a:p>
                      <a:endParaRPr lang="en-US" dirty="0"/>
                    </a:p>
                  </a:txBody>
                  <a:tcPr/>
                </a:tc>
                <a:tc>
                  <a:txBody>
                    <a:bodyPr/>
                    <a:lstStyle/>
                    <a:p>
                      <a:r>
                        <a:rPr lang="en-US" dirty="0" smtClean="0"/>
                        <a:t>0.798 * 90% = </a:t>
                      </a:r>
                      <a:r>
                        <a:rPr lang="en-US" dirty="0" smtClean="0">
                          <a:solidFill>
                            <a:schemeClr val="accent6"/>
                          </a:solidFill>
                        </a:rPr>
                        <a:t>$ 0.7182</a:t>
                      </a:r>
                      <a:endParaRPr lang="en-US" dirty="0">
                        <a:solidFill>
                          <a:schemeClr val="accent6"/>
                        </a:solidFill>
                      </a:endParaRPr>
                    </a:p>
                  </a:txBody>
                  <a:tcPr/>
                </a:tc>
              </a:tr>
            </a:tbl>
          </a:graphicData>
        </a:graphic>
      </p:graphicFrame>
    </p:spTree>
    <p:extLst>
      <p:ext uri="{BB962C8B-B14F-4D97-AF65-F5344CB8AC3E}">
        <p14:creationId xmlns:p14="http://schemas.microsoft.com/office/powerpoint/2010/main" val="15410552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職歴</a:t>
            </a:r>
            <a:endParaRPr lang="en-US" b="0" dirty="0">
              <a:latin typeface="Noto Sans CJK JP Medium" charset="-128"/>
              <a:ea typeface="Noto Sans CJK JP Medium" charset="-128"/>
              <a:cs typeface="Noto Sans CJK JP Medium" charset="-128"/>
            </a:endParaRPr>
          </a:p>
        </p:txBody>
      </p:sp>
      <p:sp>
        <p:nvSpPr>
          <p:cNvPr id="5" name="Down Arrow 4"/>
          <p:cNvSpPr/>
          <p:nvPr/>
        </p:nvSpPr>
        <p:spPr bwMode="gray">
          <a:xfrm>
            <a:off x="1910637" y="1083214"/>
            <a:ext cx="1027289" cy="4989688"/>
          </a:xfrm>
          <a:prstGeom prst="downArrow">
            <a:avLst/>
          </a:prstGeom>
          <a:solidFill>
            <a:schemeClr val="tx2">
              <a:lumMod val="60000"/>
              <a:lumOff val="40000"/>
            </a:schemeClr>
          </a:solidFill>
          <a:ln w="9525" cmpd="sng">
            <a:noFill/>
            <a:miter lim="800000"/>
            <a:headEnd/>
            <a:tailEnd/>
          </a:ln>
        </p:spPr>
        <p:txBody>
          <a:bodyPr rtlCol="0" anchor="ctr"/>
          <a:lstStyle/>
          <a:p>
            <a:pPr algn="ctr"/>
            <a:endParaRPr lang="en-US" sz="1050" dirty="0" smtClean="0">
              <a:solidFill>
                <a:srgbClr val="33464D"/>
              </a:solidFill>
              <a:latin typeface="Noto Sans CJK JP Medium" charset="-128"/>
              <a:ea typeface="Noto Sans CJK JP Medium" charset="-128"/>
              <a:cs typeface="Noto Sans CJK JP Medium" charset="-128"/>
            </a:endParaRPr>
          </a:p>
        </p:txBody>
      </p:sp>
      <p:sp>
        <p:nvSpPr>
          <p:cNvPr id="6" name="TextBox 5"/>
          <p:cNvSpPr txBox="1"/>
          <p:nvPr/>
        </p:nvSpPr>
        <p:spPr>
          <a:xfrm>
            <a:off x="1157111" y="1083734"/>
            <a:ext cx="1388533" cy="380480"/>
          </a:xfrm>
          <a:prstGeom prst="rect">
            <a:avLst/>
          </a:prstGeom>
          <a:noFill/>
        </p:spPr>
        <p:txBody>
          <a:bodyPr wrap="square" lIns="36000" tIns="36000" rIns="36000" bIns="36000" rtlCol="0">
            <a:spAutoFit/>
          </a:bodyPr>
          <a:lstStyle/>
          <a:p>
            <a:r>
              <a:rPr kumimoji="1" lang="en-US" altLang="ja-JP" sz="2000" dirty="0" smtClean="0">
                <a:solidFill>
                  <a:srgbClr val="33464D"/>
                </a:solidFill>
                <a:latin typeface="Noto Sans CJK JP Medium" charset="-128"/>
                <a:ea typeface="Noto Sans CJK JP Medium" charset="-128"/>
                <a:cs typeface="Noto Sans CJK JP Medium" charset="-128"/>
              </a:rPr>
              <a:t>2010</a:t>
            </a:r>
            <a:endParaRPr kumimoji="1" lang="en-US" sz="2000" dirty="0" smtClean="0">
              <a:solidFill>
                <a:srgbClr val="33464D"/>
              </a:solidFill>
              <a:latin typeface="Noto Sans CJK JP Medium" charset="-128"/>
              <a:ea typeface="Noto Sans CJK JP Medium" charset="-128"/>
              <a:cs typeface="Noto Sans CJK JP Medium" charset="-128"/>
            </a:endParaRPr>
          </a:p>
        </p:txBody>
      </p:sp>
      <p:sp>
        <p:nvSpPr>
          <p:cNvPr id="7" name="TextBox 6"/>
          <p:cNvSpPr txBox="1"/>
          <p:nvPr/>
        </p:nvSpPr>
        <p:spPr>
          <a:xfrm>
            <a:off x="1157108" y="5506043"/>
            <a:ext cx="1388533" cy="380480"/>
          </a:xfrm>
          <a:prstGeom prst="rect">
            <a:avLst/>
          </a:prstGeom>
          <a:noFill/>
        </p:spPr>
        <p:txBody>
          <a:bodyPr wrap="square" lIns="36000" tIns="36000" rIns="36000" bIns="36000" rtlCol="0">
            <a:spAutoFit/>
          </a:bodyPr>
          <a:lstStyle/>
          <a:p>
            <a:r>
              <a:rPr kumimoji="1" lang="en-US" altLang="ja-JP" sz="2000" dirty="0" smtClean="0">
                <a:solidFill>
                  <a:schemeClr val="accent6"/>
                </a:solidFill>
                <a:latin typeface="Noto Sans CJK JP Medium" charset="-128"/>
                <a:ea typeface="Noto Sans CJK JP Medium" charset="-128"/>
                <a:cs typeface="Noto Sans CJK JP Medium" charset="-128"/>
              </a:rPr>
              <a:t>2016</a:t>
            </a:r>
            <a:endParaRPr kumimoji="1" lang="en-US" sz="2000" dirty="0" smtClean="0">
              <a:solidFill>
                <a:schemeClr val="accent6"/>
              </a:solidFill>
              <a:latin typeface="Noto Sans CJK JP Medium" charset="-128"/>
              <a:ea typeface="Noto Sans CJK JP Medium" charset="-128"/>
              <a:cs typeface="Noto Sans CJK JP Medium" charset="-128"/>
            </a:endParaRPr>
          </a:p>
        </p:txBody>
      </p:sp>
      <p:sp>
        <p:nvSpPr>
          <p:cNvPr id="8" name="TextBox 7"/>
          <p:cNvSpPr txBox="1"/>
          <p:nvPr/>
        </p:nvSpPr>
        <p:spPr>
          <a:xfrm>
            <a:off x="1157109" y="2748566"/>
            <a:ext cx="1388533" cy="380480"/>
          </a:xfrm>
          <a:prstGeom prst="rect">
            <a:avLst/>
          </a:prstGeom>
          <a:noFill/>
        </p:spPr>
        <p:txBody>
          <a:bodyPr wrap="square" lIns="36000" tIns="36000" rIns="36000" bIns="36000" rtlCol="0">
            <a:spAutoFit/>
          </a:bodyPr>
          <a:lstStyle/>
          <a:p>
            <a:r>
              <a:rPr kumimoji="1" lang="en-US" altLang="ja-JP" sz="2000" dirty="0" smtClean="0">
                <a:solidFill>
                  <a:srgbClr val="33464D"/>
                </a:solidFill>
                <a:latin typeface="Noto Sans CJK JP Medium" charset="-128"/>
                <a:ea typeface="Noto Sans CJK JP Medium" charset="-128"/>
                <a:cs typeface="Noto Sans CJK JP Medium" charset="-128"/>
              </a:rPr>
              <a:t>2012</a:t>
            </a:r>
            <a:endParaRPr kumimoji="1" lang="en-US" sz="2000" dirty="0" smtClean="0">
              <a:solidFill>
                <a:srgbClr val="33464D"/>
              </a:solidFill>
              <a:latin typeface="Noto Sans CJK JP Medium" charset="-128"/>
              <a:ea typeface="Noto Sans CJK JP Medium" charset="-128"/>
              <a:cs typeface="Noto Sans CJK JP Medium" charset="-128"/>
            </a:endParaRPr>
          </a:p>
        </p:txBody>
      </p:sp>
      <p:sp>
        <p:nvSpPr>
          <p:cNvPr id="9" name="TextBox 8"/>
          <p:cNvSpPr txBox="1"/>
          <p:nvPr/>
        </p:nvSpPr>
        <p:spPr>
          <a:xfrm>
            <a:off x="1157108" y="4028110"/>
            <a:ext cx="1388533" cy="380480"/>
          </a:xfrm>
          <a:prstGeom prst="rect">
            <a:avLst/>
          </a:prstGeom>
          <a:noFill/>
        </p:spPr>
        <p:txBody>
          <a:bodyPr wrap="square" lIns="36000" tIns="36000" rIns="36000" bIns="36000" rtlCol="0">
            <a:spAutoFit/>
          </a:bodyPr>
          <a:lstStyle/>
          <a:p>
            <a:r>
              <a:rPr kumimoji="1" lang="en-US" altLang="ja-JP" sz="2000" dirty="0" smtClean="0">
                <a:solidFill>
                  <a:schemeClr val="accent6"/>
                </a:solidFill>
                <a:latin typeface="Noto Sans CJK JP Medium" charset="-128"/>
                <a:ea typeface="Noto Sans CJK JP Medium" charset="-128"/>
                <a:cs typeface="Noto Sans CJK JP Medium" charset="-128"/>
              </a:rPr>
              <a:t>2014</a:t>
            </a:r>
            <a:endParaRPr kumimoji="1" lang="en-US" sz="2000" dirty="0" smtClean="0">
              <a:solidFill>
                <a:schemeClr val="accent6"/>
              </a:solidFill>
              <a:latin typeface="Noto Sans CJK JP Medium" charset="-128"/>
              <a:ea typeface="Noto Sans CJK JP Medium" charset="-128"/>
              <a:cs typeface="Noto Sans CJK JP Medium" charset="-128"/>
            </a:endParaRPr>
          </a:p>
        </p:txBody>
      </p:sp>
      <p:sp>
        <p:nvSpPr>
          <p:cNvPr id="11" name="コンテンツ プレースホルダー 2"/>
          <p:cNvSpPr txBox="1">
            <a:spLocks/>
          </p:cNvSpPr>
          <p:nvPr/>
        </p:nvSpPr>
        <p:spPr bwMode="auto">
          <a:xfrm>
            <a:off x="3951112" y="1083214"/>
            <a:ext cx="4797777"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b="0" dirty="0" smtClean="0">
                <a:latin typeface="Noto Sans CJK JP Medium" charset="-128"/>
                <a:ea typeface="Noto Sans CJK JP Medium" charset="-128"/>
                <a:cs typeface="Noto Sans CJK JP Medium" charset="-128"/>
              </a:rPr>
              <a:t>某国内メーカーにて官公庁を相手に</a:t>
            </a:r>
            <a:endParaRPr lang="en-US" altLang="ja-JP" b="0" dirty="0" smtClean="0">
              <a:latin typeface="Noto Sans CJK JP Medium" charset="-128"/>
              <a:ea typeface="Noto Sans CJK JP Medium" charset="-128"/>
              <a:cs typeface="Noto Sans CJK JP Medium" charset="-128"/>
            </a:endParaRPr>
          </a:p>
          <a:p>
            <a:pPr marL="0" indent="0">
              <a:buNone/>
            </a:pPr>
            <a:r>
              <a:rPr lang="ja-JP" altLang="en-US" b="0" dirty="0" smtClean="0">
                <a:latin typeface="Noto Sans CJK JP Medium" charset="-128"/>
                <a:ea typeface="Noto Sans CJK JP Medium" charset="-128"/>
                <a:cs typeface="Noto Sans CJK JP Medium" charset="-128"/>
              </a:rPr>
              <a:t>システムの提案</a:t>
            </a:r>
            <a:r>
              <a:rPr lang="en-US" altLang="ja-JP" b="0" dirty="0" smtClean="0">
                <a:latin typeface="Noto Sans CJK JP Medium" charset="-128"/>
                <a:ea typeface="Noto Sans CJK JP Medium" charset="-128"/>
                <a:cs typeface="Noto Sans CJK JP Medium" charset="-128"/>
              </a:rPr>
              <a:t>/</a:t>
            </a:r>
            <a:r>
              <a:rPr lang="ja-JP" altLang="en-US" b="0" dirty="0" smtClean="0">
                <a:latin typeface="Noto Sans CJK JP Medium" charset="-128"/>
                <a:ea typeface="Noto Sans CJK JP Medium" charset="-128"/>
                <a:cs typeface="Noto Sans CJK JP Medium" charset="-128"/>
              </a:rPr>
              <a:t>設計。</a:t>
            </a:r>
            <a:endParaRPr lang="en-US" altLang="ja-JP" b="0" dirty="0">
              <a:latin typeface="Noto Sans CJK JP Medium" charset="-128"/>
              <a:ea typeface="Noto Sans CJK JP Medium" charset="-128"/>
              <a:cs typeface="Noto Sans CJK JP Medium" charset="-128"/>
            </a:endParaRPr>
          </a:p>
        </p:txBody>
      </p:sp>
      <p:sp>
        <p:nvSpPr>
          <p:cNvPr id="12" name="コンテンツ プレースホルダー 2"/>
          <p:cNvSpPr txBox="1">
            <a:spLocks/>
          </p:cNvSpPr>
          <p:nvPr/>
        </p:nvSpPr>
        <p:spPr bwMode="auto">
          <a:xfrm>
            <a:off x="3951112" y="2748046"/>
            <a:ext cx="5249332"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b="0" dirty="0">
                <a:latin typeface="Noto Sans CJK JP Medium" charset="-128"/>
                <a:ea typeface="Noto Sans CJK JP Medium" charset="-128"/>
                <a:cs typeface="Noto Sans CJK JP Medium" charset="-128"/>
              </a:rPr>
              <a:t>某インターネット広告</a:t>
            </a:r>
            <a:r>
              <a:rPr lang="ja-JP" altLang="en-US" b="0" dirty="0" smtClean="0">
                <a:latin typeface="Noto Sans CJK JP Medium" charset="-128"/>
                <a:ea typeface="Noto Sans CJK JP Medium" charset="-128"/>
                <a:cs typeface="Noto Sans CJK JP Medium" charset="-128"/>
              </a:rPr>
              <a:t>会社にて</a:t>
            </a:r>
            <a:endParaRPr lang="en-US" altLang="ja-JP" b="0" dirty="0" smtClean="0">
              <a:latin typeface="Noto Sans CJK JP Medium" charset="-128"/>
              <a:ea typeface="Noto Sans CJK JP Medium" charset="-128"/>
              <a:cs typeface="Noto Sans CJK JP Medium" charset="-128"/>
            </a:endParaRPr>
          </a:p>
          <a:p>
            <a:pPr marL="0" indent="0">
              <a:buNone/>
            </a:pPr>
            <a:r>
              <a:rPr lang="ja-JP" altLang="en-US" b="0" dirty="0" smtClean="0">
                <a:latin typeface="Noto Sans CJK JP Medium" charset="-128"/>
                <a:ea typeface="Noto Sans CJK JP Medium" charset="-128"/>
                <a:cs typeface="Noto Sans CJK JP Medium" charset="-128"/>
              </a:rPr>
              <a:t>フロントエンド</a:t>
            </a:r>
            <a:r>
              <a:rPr lang="en-US" altLang="ja-JP" b="0" dirty="0">
                <a:latin typeface="Noto Sans CJK JP Medium" charset="-128"/>
                <a:ea typeface="Noto Sans CJK JP Medium" charset="-128"/>
                <a:cs typeface="Noto Sans CJK JP Medium" charset="-128"/>
              </a:rPr>
              <a:t>/</a:t>
            </a:r>
            <a:r>
              <a:rPr lang="ja-JP" altLang="en-US" b="0" dirty="0">
                <a:latin typeface="Noto Sans CJK JP Medium" charset="-128"/>
                <a:ea typeface="Noto Sans CJK JP Medium" charset="-128"/>
                <a:cs typeface="Noto Sans CJK JP Medium" charset="-128"/>
              </a:rPr>
              <a:t>バックエンドの開発</a:t>
            </a:r>
            <a:r>
              <a:rPr lang="en-US" altLang="ja-JP" b="0" dirty="0">
                <a:latin typeface="Noto Sans CJK JP Medium" charset="-128"/>
                <a:ea typeface="Noto Sans CJK JP Medium" charset="-128"/>
                <a:cs typeface="Noto Sans CJK JP Medium" charset="-128"/>
              </a:rPr>
              <a:t>/</a:t>
            </a:r>
            <a:r>
              <a:rPr lang="ja-JP" altLang="en-US" b="0" dirty="0">
                <a:latin typeface="Noto Sans CJK JP Medium" charset="-128"/>
                <a:ea typeface="Noto Sans CJK JP Medium" charset="-128"/>
                <a:cs typeface="Noto Sans CJK JP Medium" charset="-128"/>
              </a:rPr>
              <a:t>構築</a:t>
            </a:r>
            <a:endParaRPr lang="en-US" altLang="ja-JP" b="0" dirty="0">
              <a:latin typeface="Noto Sans CJK JP Medium" charset="-128"/>
              <a:ea typeface="Noto Sans CJK JP Medium" charset="-128"/>
              <a:cs typeface="Noto Sans CJK JP Medium" charset="-128"/>
            </a:endParaRPr>
          </a:p>
        </p:txBody>
      </p:sp>
      <p:sp>
        <p:nvSpPr>
          <p:cNvPr id="14" name="コンテンツ プレースホルダー 2"/>
          <p:cNvSpPr txBox="1">
            <a:spLocks/>
          </p:cNvSpPr>
          <p:nvPr/>
        </p:nvSpPr>
        <p:spPr bwMode="auto">
          <a:xfrm>
            <a:off x="3951112" y="4028109"/>
            <a:ext cx="5249332"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endParaRPr lang="en-US" altLang="ja-JP" b="0" dirty="0">
              <a:latin typeface="Noto Sans CJK JP Medium" charset="-128"/>
              <a:ea typeface="Noto Sans CJK JP Medium" charset="-128"/>
              <a:cs typeface="Noto Sans CJK JP Medium" charset="-128"/>
            </a:endParaRPr>
          </a:p>
        </p:txBody>
      </p:sp>
      <p:sp>
        <p:nvSpPr>
          <p:cNvPr id="15" name="コンテンツ プレースホルダー 2"/>
          <p:cNvSpPr txBox="1">
            <a:spLocks/>
          </p:cNvSpPr>
          <p:nvPr/>
        </p:nvSpPr>
        <p:spPr bwMode="auto">
          <a:xfrm>
            <a:off x="3951112" y="4028109"/>
            <a:ext cx="5249332"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b="0" dirty="0">
                <a:latin typeface="Noto Sans CJK JP Medium" charset="-128"/>
                <a:ea typeface="Noto Sans CJK JP Medium" charset="-128"/>
                <a:cs typeface="Noto Sans CJK JP Medium" charset="-128"/>
              </a:rPr>
              <a:t>某ポータルサイト運営会社で</a:t>
            </a:r>
            <a:r>
              <a:rPr lang="en-US" altLang="ja-JP" b="0" dirty="0" smtClean="0">
                <a:latin typeface="Noto Sans CJK JP Medium" charset="-128"/>
                <a:ea typeface="Noto Sans CJK JP Medium" charset="-128"/>
                <a:cs typeface="Noto Sans CJK JP Medium" charset="-128"/>
              </a:rPr>
              <a:t>Hadoop</a:t>
            </a:r>
            <a:r>
              <a:rPr lang="ja-JP" altLang="en-US" b="0" dirty="0" smtClean="0">
                <a:latin typeface="Noto Sans CJK JP Medium" charset="-128"/>
                <a:ea typeface="Noto Sans CJK JP Medium" charset="-128"/>
                <a:cs typeface="Noto Sans CJK JP Medium" charset="-128"/>
              </a:rPr>
              <a:t>、</a:t>
            </a:r>
            <a:endParaRPr lang="en-US" altLang="ja-JP" b="0" dirty="0">
              <a:latin typeface="Noto Sans CJK JP Medium" charset="-128"/>
              <a:ea typeface="Noto Sans CJK JP Medium" charset="-128"/>
              <a:cs typeface="Noto Sans CJK JP Medium" charset="-128"/>
            </a:endParaRPr>
          </a:p>
          <a:p>
            <a:pPr marL="0" indent="0">
              <a:buNone/>
            </a:pPr>
            <a:r>
              <a:rPr lang="ja-JP" altLang="en-US" b="0" dirty="0">
                <a:latin typeface="Noto Sans CJK JP Medium" charset="-128"/>
                <a:ea typeface="Noto Sans CJK JP Medium" charset="-128"/>
                <a:cs typeface="Noto Sans CJK JP Medium" charset="-128"/>
              </a:rPr>
              <a:t>周辺エコシステムの開発</a:t>
            </a:r>
            <a:r>
              <a:rPr lang="en-US" altLang="ja-JP" b="0" dirty="0">
                <a:latin typeface="Noto Sans CJK JP Medium" charset="-128"/>
                <a:ea typeface="Noto Sans CJK JP Medium" charset="-128"/>
                <a:cs typeface="Noto Sans CJK JP Medium" charset="-128"/>
              </a:rPr>
              <a:t>/</a:t>
            </a:r>
            <a:r>
              <a:rPr lang="ja-JP" altLang="en-US" b="0" dirty="0">
                <a:latin typeface="Noto Sans CJK JP Medium" charset="-128"/>
                <a:ea typeface="Noto Sans CJK JP Medium" charset="-128"/>
                <a:cs typeface="Noto Sans CJK JP Medium" charset="-128"/>
              </a:rPr>
              <a:t>検証</a:t>
            </a:r>
            <a:r>
              <a:rPr lang="en-US" altLang="ja-JP" b="0" dirty="0">
                <a:latin typeface="Noto Sans CJK JP Medium" charset="-128"/>
                <a:ea typeface="Noto Sans CJK JP Medium" charset="-128"/>
                <a:cs typeface="Noto Sans CJK JP Medium" charset="-128"/>
              </a:rPr>
              <a:t>/</a:t>
            </a:r>
            <a:r>
              <a:rPr lang="ja-JP" altLang="en-US" b="0" dirty="0" smtClean="0">
                <a:latin typeface="Noto Sans CJK JP Medium" charset="-128"/>
                <a:ea typeface="Noto Sans CJK JP Medium" charset="-128"/>
                <a:cs typeface="Noto Sans CJK JP Medium" charset="-128"/>
              </a:rPr>
              <a:t>構築</a:t>
            </a:r>
            <a:endParaRPr lang="en-US" altLang="ja-JP" b="0" dirty="0">
              <a:latin typeface="Noto Sans CJK JP Medium" charset="-128"/>
              <a:ea typeface="Noto Sans CJK JP Medium" charset="-128"/>
              <a:cs typeface="Noto Sans CJK JP Medium" charset="-128"/>
            </a:endParaRPr>
          </a:p>
        </p:txBody>
      </p:sp>
      <p:sp>
        <p:nvSpPr>
          <p:cNvPr id="16" name="コンテンツ プレースホルダー 2"/>
          <p:cNvSpPr txBox="1">
            <a:spLocks/>
          </p:cNvSpPr>
          <p:nvPr/>
        </p:nvSpPr>
        <p:spPr bwMode="auto">
          <a:xfrm>
            <a:off x="3951112" y="5505523"/>
            <a:ext cx="5249332"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en-US" altLang="ja-JP" b="0" dirty="0" smtClean="0">
                <a:latin typeface="Noto Sans CJK JP Medium" charset="-128"/>
                <a:ea typeface="Noto Sans CJK JP Medium" charset="-128"/>
                <a:cs typeface="Noto Sans CJK JP Medium" charset="-128"/>
              </a:rPr>
              <a:t>AWS(</a:t>
            </a:r>
            <a:r>
              <a:rPr lang="ja-JP" altLang="en-US" b="0" dirty="0" smtClean="0">
                <a:latin typeface="Noto Sans CJK JP Medium" charset="-128"/>
                <a:ea typeface="Noto Sans CJK JP Medium" charset="-128"/>
                <a:cs typeface="Noto Sans CJK JP Medium" charset="-128"/>
              </a:rPr>
              <a:t>主に</a:t>
            </a:r>
            <a:r>
              <a:rPr lang="en-US" altLang="ja-JP" b="0" dirty="0" smtClean="0">
                <a:latin typeface="Noto Sans CJK JP Medium" charset="-128"/>
                <a:ea typeface="Noto Sans CJK JP Medium" charset="-128"/>
                <a:cs typeface="Noto Sans CJK JP Medium" charset="-128"/>
              </a:rPr>
              <a:t>EMR)</a:t>
            </a:r>
            <a:r>
              <a:rPr lang="ja-JP" altLang="en-US" b="0" dirty="0" smtClean="0">
                <a:latin typeface="Noto Sans CJK JP Medium" charset="-128"/>
                <a:ea typeface="Noto Sans CJK JP Medium" charset="-128"/>
                <a:cs typeface="Noto Sans CJK JP Medium" charset="-128"/>
              </a:rPr>
              <a:t>の自動化ツール作成、</a:t>
            </a:r>
            <a:endParaRPr lang="en-US" altLang="ja-JP" b="0" dirty="0" smtClean="0">
              <a:latin typeface="Noto Sans CJK JP Medium" charset="-128"/>
              <a:ea typeface="Noto Sans CJK JP Medium" charset="-128"/>
              <a:cs typeface="Noto Sans CJK JP Medium" charset="-128"/>
            </a:endParaRPr>
          </a:p>
          <a:p>
            <a:pPr marL="0" indent="0">
              <a:buNone/>
            </a:pPr>
            <a:r>
              <a:rPr lang="ja-JP" altLang="en-US" b="0" dirty="0" smtClean="0">
                <a:latin typeface="Noto Sans CJK JP Medium" charset="-128"/>
                <a:ea typeface="Noto Sans CJK JP Medium" charset="-128"/>
                <a:cs typeface="Noto Sans CJK JP Medium" charset="-128"/>
              </a:rPr>
              <a:t>技術支援など</a:t>
            </a:r>
            <a:endParaRPr lang="en-US" altLang="ja-JP" b="0" dirty="0">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167134564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非同期リクエストの解決案</a:t>
            </a:r>
            <a:endParaRPr lang="en-US" b="0" dirty="0">
              <a:latin typeface="Noto Sans CJK JP Medium" charset="-128"/>
              <a:ea typeface="Noto Sans CJK JP Medium" charset="-128"/>
              <a:cs typeface="Noto Sans CJK JP Medium" charset="-128"/>
            </a:endParaRPr>
          </a:p>
        </p:txBody>
      </p:sp>
      <p:sp>
        <p:nvSpPr>
          <p:cNvPr id="3" name="Content Placeholder 2"/>
          <p:cNvSpPr>
            <a:spLocks noGrp="1"/>
          </p:cNvSpPr>
          <p:nvPr>
            <p:ph idx="1"/>
          </p:nvPr>
        </p:nvSpPr>
        <p:spPr/>
        <p:txBody>
          <a:bodyPr/>
          <a:lstStyle/>
          <a:p>
            <a:r>
              <a:rPr lang="ja-JP" altLang="en-US" b="0" dirty="0" smtClean="0">
                <a:solidFill>
                  <a:schemeClr val="bg1">
                    <a:lumMod val="85000"/>
                  </a:schemeClr>
                </a:solidFill>
                <a:latin typeface="Noto Sans CJK JP Medium" charset="-128"/>
                <a:ea typeface="Noto Sans CJK JP Medium" charset="-128"/>
                <a:cs typeface="Noto Sans CJK JP Medium" charset="-128"/>
              </a:rPr>
              <a:t>タスクグループの上限が</a:t>
            </a:r>
            <a:r>
              <a:rPr lang="en-US" altLang="ja-JP" b="0" dirty="0" smtClean="0">
                <a:solidFill>
                  <a:schemeClr val="bg1">
                    <a:lumMod val="85000"/>
                  </a:schemeClr>
                </a:solidFill>
                <a:latin typeface="Noto Sans CJK JP Medium" charset="-128"/>
                <a:ea typeface="Noto Sans CJK JP Medium" charset="-128"/>
                <a:cs typeface="Noto Sans CJK JP Medium" charset="-128"/>
              </a:rPr>
              <a:t>48</a:t>
            </a:r>
            <a:r>
              <a:rPr lang="ja-JP" altLang="en-US" b="0" dirty="0" smtClean="0">
                <a:solidFill>
                  <a:schemeClr val="bg1">
                    <a:lumMod val="85000"/>
                  </a:schemeClr>
                </a:solidFill>
                <a:latin typeface="Noto Sans CJK JP Medium" charset="-128"/>
                <a:ea typeface="Noto Sans CJK JP Medium" charset="-128"/>
                <a:cs typeface="Noto Sans CJK JP Medium" charset="-128"/>
              </a:rPr>
              <a:t>個まで。</a:t>
            </a:r>
            <a:endParaRPr lang="en-US" altLang="ja-JP" b="0" dirty="0" smtClean="0">
              <a:solidFill>
                <a:schemeClr val="bg1">
                  <a:lumMod val="85000"/>
                </a:schemeClr>
              </a:solidFill>
              <a:latin typeface="Noto Sans CJK JP Medium" charset="-128"/>
              <a:ea typeface="Noto Sans CJK JP Medium" charset="-128"/>
              <a:cs typeface="Noto Sans CJK JP Medium" charset="-128"/>
            </a:endParaRPr>
          </a:p>
          <a:p>
            <a:pPr lvl="1"/>
            <a:r>
              <a:rPr lang="ja-JP" altLang="en-US" b="0" dirty="0" smtClean="0">
                <a:solidFill>
                  <a:schemeClr val="bg1">
                    <a:lumMod val="85000"/>
                  </a:schemeClr>
                </a:solidFill>
                <a:latin typeface="Noto Sans CJK JP Medium" charset="-128"/>
                <a:ea typeface="Noto Sans CJK JP Medium" charset="-128"/>
                <a:cs typeface="Noto Sans CJK JP Medium" charset="-128"/>
              </a:rPr>
              <a:t>値段を細かく上げていくとすぐに上限に達してしまう。</a:t>
            </a:r>
            <a:endParaRPr lang="en-US" altLang="ja-JP" b="0" dirty="0" smtClean="0">
              <a:solidFill>
                <a:schemeClr val="bg1">
                  <a:lumMod val="85000"/>
                </a:schemeClr>
              </a:solidFill>
              <a:latin typeface="Noto Sans CJK JP Medium" charset="-128"/>
              <a:ea typeface="Noto Sans CJK JP Medium" charset="-128"/>
              <a:cs typeface="Noto Sans CJK JP Medium" charset="-128"/>
            </a:endParaRPr>
          </a:p>
          <a:p>
            <a:pPr lvl="1"/>
            <a:endParaRPr lang="en-US" altLang="ja-JP" b="0" dirty="0">
              <a:solidFill>
                <a:schemeClr val="bg1">
                  <a:lumMod val="85000"/>
                </a:schemeClr>
              </a:solidFill>
              <a:latin typeface="Noto Sans CJK JP Medium" charset="-128"/>
              <a:ea typeface="Noto Sans CJK JP Medium" charset="-128"/>
              <a:cs typeface="Noto Sans CJK JP Medium" charset="-128"/>
            </a:endParaRPr>
          </a:p>
          <a:p>
            <a:r>
              <a:rPr lang="ja-JP" altLang="en-US" b="0" dirty="0" smtClean="0">
                <a:solidFill>
                  <a:schemeClr val="bg1">
                    <a:lumMod val="85000"/>
                  </a:schemeClr>
                </a:solidFill>
                <a:latin typeface="Noto Sans CJK JP Medium" charset="-128"/>
                <a:ea typeface="Noto Sans CJK JP Medium" charset="-128"/>
                <a:cs typeface="Noto Sans CJK JP Medium" charset="-128"/>
              </a:rPr>
              <a:t>タスクグループが削除できない。</a:t>
            </a:r>
            <a:endParaRPr lang="en-US" altLang="ja-JP" b="0" dirty="0" smtClean="0">
              <a:solidFill>
                <a:schemeClr val="bg1">
                  <a:lumMod val="85000"/>
                </a:schemeClr>
              </a:solidFill>
              <a:latin typeface="Noto Sans CJK JP Medium" charset="-128"/>
              <a:ea typeface="Noto Sans CJK JP Medium" charset="-128"/>
              <a:cs typeface="Noto Sans CJK JP Medium" charset="-128"/>
            </a:endParaRPr>
          </a:p>
          <a:p>
            <a:pPr lvl="1"/>
            <a:r>
              <a:rPr lang="ja-JP" altLang="en-US" b="0" dirty="0" smtClean="0">
                <a:solidFill>
                  <a:schemeClr val="bg1">
                    <a:lumMod val="85000"/>
                  </a:schemeClr>
                </a:solidFill>
                <a:latin typeface="Noto Sans CJK JP Medium" charset="-128"/>
                <a:ea typeface="Noto Sans CJK JP Medium" charset="-128"/>
                <a:cs typeface="Noto Sans CJK JP Medium" charset="-128"/>
              </a:rPr>
              <a:t>困った。</a:t>
            </a:r>
            <a:endParaRPr lang="en-US" altLang="ja-JP" b="0" dirty="0" smtClean="0">
              <a:solidFill>
                <a:schemeClr val="bg1">
                  <a:lumMod val="85000"/>
                </a:schemeClr>
              </a:solidFill>
              <a:latin typeface="Noto Sans CJK JP Medium" charset="-128"/>
              <a:ea typeface="Noto Sans CJK JP Medium" charset="-128"/>
              <a:cs typeface="Noto Sans CJK JP Medium" charset="-128"/>
            </a:endParaRPr>
          </a:p>
          <a:p>
            <a:pPr lvl="1"/>
            <a:endParaRPr lang="en-US" altLang="ja-JP" b="0" dirty="0">
              <a:latin typeface="Noto Sans CJK JP Medium" charset="-128"/>
              <a:ea typeface="Noto Sans CJK JP Medium" charset="-128"/>
              <a:cs typeface="Noto Sans CJK JP Medium" charset="-128"/>
            </a:endParaRPr>
          </a:p>
          <a:p>
            <a:r>
              <a:rPr lang="ja-JP" altLang="en-US" b="0" dirty="0" smtClean="0">
                <a:latin typeface="Noto Sans CJK JP Medium" charset="-128"/>
                <a:ea typeface="Noto Sans CJK JP Medium" charset="-128"/>
                <a:cs typeface="Noto Sans CJK JP Medium" charset="-128"/>
              </a:rPr>
              <a:t>スポットインスタンスへのリクエストが非同期（当たり前ですが）。</a:t>
            </a:r>
            <a:endParaRPr lang="en-US" altLang="ja-JP" b="0" dirty="0" smtClean="0">
              <a:latin typeface="Noto Sans CJK JP Medium" charset="-128"/>
              <a:ea typeface="Noto Sans CJK JP Medium" charset="-128"/>
              <a:cs typeface="Noto Sans CJK JP Medium" charset="-128"/>
            </a:endParaRPr>
          </a:p>
          <a:p>
            <a:pPr lvl="1"/>
            <a:r>
              <a:rPr lang="ja-JP" altLang="en-US" b="0" dirty="0" smtClean="0">
                <a:latin typeface="Noto Sans CJK JP Medium" charset="-128"/>
                <a:ea typeface="Noto Sans CJK JP Medium" charset="-128"/>
                <a:cs typeface="Noto Sans CJK JP Medium" charset="-128"/>
              </a:rPr>
              <a:t>スポットインスタンスのリクエスト結果を待たなくてはいけない。</a:t>
            </a:r>
            <a:r>
              <a:rPr lang="en-US" altLang="ja-JP" b="0" dirty="0">
                <a:latin typeface="Noto Sans CJK JP Medium" charset="-128"/>
                <a:ea typeface="Noto Sans CJK JP Medium" charset="-128"/>
                <a:cs typeface="Noto Sans CJK JP Medium" charset="-128"/>
              </a:rPr>
              <a:t/>
            </a:r>
            <a:br>
              <a:rPr lang="en-US" altLang="ja-JP" b="0" dirty="0">
                <a:latin typeface="Noto Sans CJK JP Medium" charset="-128"/>
                <a:ea typeface="Noto Sans CJK JP Medium" charset="-128"/>
                <a:cs typeface="Noto Sans CJK JP Medium" charset="-128"/>
              </a:rPr>
            </a:br>
            <a:r>
              <a:rPr lang="ja-JP" altLang="en-US" b="0" dirty="0" smtClean="0">
                <a:latin typeface="Noto Sans CJK JP Medium" charset="-128"/>
                <a:ea typeface="Noto Sans CJK JP Medium" charset="-128"/>
                <a:cs typeface="Noto Sans CJK JP Medium" charset="-128"/>
              </a:rPr>
              <a:t>（</a:t>
            </a:r>
            <a:r>
              <a:rPr lang="en-US" altLang="ja-JP" b="0" dirty="0" smtClean="0">
                <a:latin typeface="Noto Sans CJK JP Medium" charset="-128"/>
                <a:ea typeface="Noto Sans CJK JP Medium" charset="-128"/>
                <a:cs typeface="Noto Sans CJK JP Medium" charset="-128"/>
              </a:rPr>
              <a:t>10</a:t>
            </a:r>
            <a:r>
              <a:rPr lang="ja-JP" altLang="en-US" b="0" dirty="0" smtClean="0">
                <a:latin typeface="Noto Sans CJK JP Medium" charset="-128"/>
                <a:ea typeface="Noto Sans CJK JP Medium" charset="-128"/>
                <a:cs typeface="Noto Sans CJK JP Medium" charset="-128"/>
              </a:rPr>
              <a:t>分前後）</a:t>
            </a:r>
            <a:endParaRPr lang="en-US" altLang="ja-JP" b="0" dirty="0" smtClean="0">
              <a:latin typeface="Noto Sans CJK JP Medium" charset="-128"/>
              <a:ea typeface="Noto Sans CJK JP Medium" charset="-128"/>
              <a:cs typeface="Noto Sans CJK JP Medium" charset="-128"/>
            </a:endParaRPr>
          </a:p>
        </p:txBody>
      </p:sp>
      <p:sp>
        <p:nvSpPr>
          <p:cNvPr id="5" name="Rounded Rectangle 4"/>
          <p:cNvSpPr/>
          <p:nvPr/>
        </p:nvSpPr>
        <p:spPr bwMode="gray">
          <a:xfrm>
            <a:off x="725797" y="4425245"/>
            <a:ext cx="8430594" cy="972350"/>
          </a:xfrm>
          <a:prstGeom prst="roundRect">
            <a:avLst/>
          </a:prstGeom>
          <a:noFill/>
          <a:ln w="19050" cmpd="sng">
            <a:solidFill>
              <a:schemeClr val="accent1"/>
            </a:solidFill>
            <a:miter lim="800000"/>
            <a:headEnd/>
            <a:tailEnd/>
          </a:ln>
        </p:spPr>
        <p:txBody>
          <a:bodyPr rtlCol="0" anchor="ctr"/>
          <a:lstStyle/>
          <a:p>
            <a:pPr algn="ctr"/>
            <a:r>
              <a:rPr lang="ja-JP" altLang="en-US" dirty="0" smtClean="0">
                <a:solidFill>
                  <a:schemeClr val="accent6"/>
                </a:solidFill>
                <a:latin typeface="Noto Sans CJK JP Medium" charset="-128"/>
                <a:ea typeface="Noto Sans CJK JP Medium" charset="-128"/>
                <a:cs typeface="Noto Sans CJK JP Medium" charset="-128"/>
              </a:rPr>
              <a:t>ひとまずタイムアウトを設けて対応。</a:t>
            </a:r>
            <a:endParaRPr lang="en-US" altLang="ja-JP" dirty="0">
              <a:solidFill>
                <a:schemeClr val="accent6"/>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128882269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今後の課題</a:t>
            </a:r>
            <a:endParaRPr lang="en-US" b="0" dirty="0">
              <a:latin typeface="Noto Sans CJK JP Medium" charset="-128"/>
              <a:ea typeface="Noto Sans CJK JP Medium" charset="-128"/>
              <a:cs typeface="Noto Sans CJK JP Medium" charset="-128"/>
            </a:endParaRPr>
          </a:p>
        </p:txBody>
      </p:sp>
      <p:sp>
        <p:nvSpPr>
          <p:cNvPr id="3" name="Content Placeholder 2"/>
          <p:cNvSpPr>
            <a:spLocks noGrp="1"/>
          </p:cNvSpPr>
          <p:nvPr>
            <p:ph idx="1"/>
          </p:nvPr>
        </p:nvSpPr>
        <p:spPr/>
        <p:txBody>
          <a:bodyPr/>
          <a:lstStyle/>
          <a:p>
            <a:r>
              <a:rPr lang="ja-JP" altLang="en-US" sz="2400" b="0" dirty="0" smtClean="0">
                <a:solidFill>
                  <a:schemeClr val="tx1"/>
                </a:solidFill>
                <a:latin typeface="Noto Sans CJK JP Medium" charset="-128"/>
                <a:ea typeface="Noto Sans CJK JP Medium" charset="-128"/>
                <a:cs typeface="Noto Sans CJK JP Medium" charset="-128"/>
              </a:rPr>
              <a:t>より細かくタスクグループを追加できるようにする</a:t>
            </a:r>
            <a:endParaRPr lang="en-US" altLang="ja-JP" sz="2400" b="0" dirty="0" smtClean="0">
              <a:solidFill>
                <a:schemeClr val="tx1"/>
              </a:solidFill>
              <a:latin typeface="Noto Sans CJK JP Medium" charset="-128"/>
              <a:ea typeface="Noto Sans CJK JP Medium" charset="-128"/>
              <a:cs typeface="Noto Sans CJK JP Medium" charset="-128"/>
            </a:endParaRPr>
          </a:p>
          <a:p>
            <a:pPr lvl="1"/>
            <a:r>
              <a:rPr lang="ja-JP" altLang="en-US" sz="2000" b="0" dirty="0" smtClean="0">
                <a:solidFill>
                  <a:schemeClr val="tx1"/>
                </a:solidFill>
                <a:latin typeface="Noto Sans CJK JP Medium" charset="-128"/>
                <a:ea typeface="Noto Sans CJK JP Medium" charset="-128"/>
                <a:cs typeface="Noto Sans CJK JP Medium" charset="-128"/>
              </a:rPr>
              <a:t>現状欲しい分だけ一気にリクエストを送っている。</a:t>
            </a:r>
            <a:endParaRPr lang="en-US" altLang="ja-JP" sz="2000" b="0" dirty="0" smtClean="0">
              <a:solidFill>
                <a:schemeClr val="tx1"/>
              </a:solidFill>
              <a:latin typeface="Noto Sans CJK JP Medium" charset="-128"/>
              <a:ea typeface="Noto Sans CJK JP Medium" charset="-128"/>
              <a:cs typeface="Noto Sans CJK JP Medium" charset="-128"/>
            </a:endParaRPr>
          </a:p>
          <a:p>
            <a:endParaRPr lang="en-US" altLang="ja-JP" sz="2400" b="0" dirty="0">
              <a:solidFill>
                <a:schemeClr val="tx1"/>
              </a:solidFill>
              <a:latin typeface="Noto Sans CJK JP Medium" charset="-128"/>
              <a:ea typeface="Noto Sans CJK JP Medium" charset="-128"/>
              <a:cs typeface="Noto Sans CJK JP Medium" charset="-128"/>
            </a:endParaRPr>
          </a:p>
          <a:p>
            <a:r>
              <a:rPr lang="en-US" altLang="ja-JP" sz="2400" b="0" dirty="0" err="1" smtClean="0">
                <a:solidFill>
                  <a:schemeClr val="tx1"/>
                </a:solidFill>
                <a:latin typeface="Noto Sans CJK JP Medium" charset="-128"/>
                <a:ea typeface="Noto Sans CJK JP Medium" charset="-128"/>
                <a:cs typeface="Noto Sans CJK JP Medium" charset="-128"/>
              </a:rPr>
              <a:t>WebUI</a:t>
            </a:r>
            <a:r>
              <a:rPr lang="ja-JP" altLang="en-US" sz="2400" b="0" dirty="0" smtClean="0">
                <a:solidFill>
                  <a:schemeClr val="tx1"/>
                </a:solidFill>
                <a:latin typeface="Noto Sans CJK JP Medium" charset="-128"/>
                <a:ea typeface="Noto Sans CJK JP Medium" charset="-128"/>
                <a:cs typeface="Noto Sans CJK JP Medium" charset="-128"/>
              </a:rPr>
              <a:t>の実装</a:t>
            </a:r>
            <a:endParaRPr lang="en-US" altLang="ja-JP" sz="2400" b="0" dirty="0" smtClean="0">
              <a:solidFill>
                <a:schemeClr val="tx1"/>
              </a:solidFill>
              <a:latin typeface="Noto Sans CJK JP Medium" charset="-128"/>
              <a:ea typeface="Noto Sans CJK JP Medium" charset="-128"/>
              <a:cs typeface="Noto Sans CJK JP Medium" charset="-128"/>
            </a:endParaRPr>
          </a:p>
          <a:p>
            <a:pPr lvl="1"/>
            <a:r>
              <a:rPr lang="ja-JP" altLang="en-US" sz="2000" b="0" dirty="0" smtClean="0">
                <a:solidFill>
                  <a:schemeClr val="tx1"/>
                </a:solidFill>
                <a:latin typeface="Noto Sans CJK JP Medium" charset="-128"/>
                <a:ea typeface="Noto Sans CJK JP Medium" charset="-128"/>
                <a:cs typeface="Noto Sans CJK JP Medium" charset="-128"/>
              </a:rPr>
              <a:t>設定項目が多い。</a:t>
            </a:r>
            <a:endParaRPr lang="en-US" altLang="ja-JP" sz="2000" b="0" dirty="0" smtClean="0">
              <a:solidFill>
                <a:schemeClr val="tx1"/>
              </a:solidFill>
              <a:latin typeface="Noto Sans CJK JP Medium" charset="-128"/>
              <a:ea typeface="Noto Sans CJK JP Medium" charset="-128"/>
              <a:cs typeface="Noto Sans CJK JP Medium" charset="-128"/>
            </a:endParaRPr>
          </a:p>
          <a:p>
            <a:pPr lvl="1"/>
            <a:r>
              <a:rPr lang="en-US" altLang="ja-JP" sz="2000" b="0" dirty="0" smtClean="0">
                <a:solidFill>
                  <a:schemeClr val="tx1"/>
                </a:solidFill>
                <a:latin typeface="Noto Sans CJK JP Medium" charset="-128"/>
                <a:ea typeface="Noto Sans CJK JP Medium" charset="-128"/>
                <a:cs typeface="Noto Sans CJK JP Medium" charset="-128"/>
              </a:rPr>
              <a:t>JSON</a:t>
            </a:r>
            <a:r>
              <a:rPr lang="ja-JP" altLang="en-US" sz="2000" b="0" dirty="0" smtClean="0">
                <a:solidFill>
                  <a:schemeClr val="tx1"/>
                </a:solidFill>
                <a:latin typeface="Noto Sans CJK JP Medium" charset="-128"/>
                <a:ea typeface="Noto Sans CJK JP Medium" charset="-128"/>
                <a:cs typeface="Noto Sans CJK JP Medium" charset="-128"/>
              </a:rPr>
              <a:t>に不慣れな人もいる。</a:t>
            </a:r>
            <a:endParaRPr lang="en-US" altLang="ja-JP" sz="2000" b="0" dirty="0" smtClean="0">
              <a:solidFill>
                <a:schemeClr val="tx1"/>
              </a:solidFill>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9209442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職歴</a:t>
            </a:r>
            <a:endParaRPr lang="en-US" b="0" dirty="0">
              <a:latin typeface="Noto Sans CJK JP Medium" charset="-128"/>
              <a:ea typeface="Noto Sans CJK JP Medium" charset="-128"/>
              <a:cs typeface="Noto Sans CJK JP Medium" charset="-128"/>
            </a:endParaRPr>
          </a:p>
        </p:txBody>
      </p:sp>
      <p:sp>
        <p:nvSpPr>
          <p:cNvPr id="5" name="Down Arrow 4"/>
          <p:cNvSpPr/>
          <p:nvPr/>
        </p:nvSpPr>
        <p:spPr bwMode="gray">
          <a:xfrm>
            <a:off x="1910637" y="1083214"/>
            <a:ext cx="1027289" cy="4989688"/>
          </a:xfrm>
          <a:prstGeom prst="downArrow">
            <a:avLst/>
          </a:prstGeom>
          <a:solidFill>
            <a:schemeClr val="tx2">
              <a:lumMod val="60000"/>
              <a:lumOff val="40000"/>
            </a:schemeClr>
          </a:solidFill>
          <a:ln w="9525" cmpd="sng">
            <a:noFill/>
            <a:miter lim="800000"/>
            <a:headEnd/>
            <a:tailEnd/>
          </a:ln>
        </p:spPr>
        <p:txBody>
          <a:bodyPr rtlCol="0" anchor="ctr"/>
          <a:lstStyle/>
          <a:p>
            <a:pPr algn="ctr"/>
            <a:endParaRPr lang="en-US" sz="1050" dirty="0" smtClean="0">
              <a:solidFill>
                <a:srgbClr val="33464D"/>
              </a:solidFill>
              <a:latin typeface="Noto Sans CJK JP Medium" charset="-128"/>
              <a:ea typeface="Noto Sans CJK JP Medium" charset="-128"/>
              <a:cs typeface="Noto Sans CJK JP Medium" charset="-128"/>
            </a:endParaRPr>
          </a:p>
        </p:txBody>
      </p:sp>
      <p:sp>
        <p:nvSpPr>
          <p:cNvPr id="6" name="TextBox 5"/>
          <p:cNvSpPr txBox="1"/>
          <p:nvPr/>
        </p:nvSpPr>
        <p:spPr>
          <a:xfrm>
            <a:off x="1157111" y="1083734"/>
            <a:ext cx="1388533" cy="380480"/>
          </a:xfrm>
          <a:prstGeom prst="rect">
            <a:avLst/>
          </a:prstGeom>
          <a:noFill/>
        </p:spPr>
        <p:txBody>
          <a:bodyPr wrap="square" lIns="36000" tIns="36000" rIns="36000" bIns="36000" rtlCol="0">
            <a:spAutoFit/>
          </a:bodyPr>
          <a:lstStyle/>
          <a:p>
            <a:r>
              <a:rPr kumimoji="1" lang="en-US" altLang="ja-JP" sz="2000" dirty="0" smtClean="0">
                <a:solidFill>
                  <a:srgbClr val="33464D"/>
                </a:solidFill>
                <a:latin typeface="Noto Sans CJK JP Medium" charset="-128"/>
                <a:ea typeface="Noto Sans CJK JP Medium" charset="-128"/>
                <a:cs typeface="Noto Sans CJK JP Medium" charset="-128"/>
              </a:rPr>
              <a:t>2010</a:t>
            </a:r>
            <a:endParaRPr kumimoji="1" lang="en-US" sz="2000" dirty="0" smtClean="0">
              <a:solidFill>
                <a:srgbClr val="33464D"/>
              </a:solidFill>
              <a:latin typeface="Noto Sans CJK JP Medium" charset="-128"/>
              <a:ea typeface="Noto Sans CJK JP Medium" charset="-128"/>
              <a:cs typeface="Noto Sans CJK JP Medium" charset="-128"/>
            </a:endParaRPr>
          </a:p>
        </p:txBody>
      </p:sp>
      <p:sp>
        <p:nvSpPr>
          <p:cNvPr id="7" name="TextBox 6"/>
          <p:cNvSpPr txBox="1"/>
          <p:nvPr/>
        </p:nvSpPr>
        <p:spPr>
          <a:xfrm>
            <a:off x="1157108" y="5506043"/>
            <a:ext cx="1388533" cy="380480"/>
          </a:xfrm>
          <a:prstGeom prst="rect">
            <a:avLst/>
          </a:prstGeom>
          <a:noFill/>
        </p:spPr>
        <p:txBody>
          <a:bodyPr wrap="square" lIns="36000" tIns="36000" rIns="36000" bIns="36000" rtlCol="0">
            <a:spAutoFit/>
          </a:bodyPr>
          <a:lstStyle/>
          <a:p>
            <a:r>
              <a:rPr kumimoji="1" lang="en-US" altLang="ja-JP" sz="2000" dirty="0" smtClean="0">
                <a:solidFill>
                  <a:schemeClr val="accent6"/>
                </a:solidFill>
                <a:latin typeface="Noto Sans CJK JP Medium" charset="-128"/>
                <a:ea typeface="Noto Sans CJK JP Medium" charset="-128"/>
                <a:cs typeface="Noto Sans CJK JP Medium" charset="-128"/>
              </a:rPr>
              <a:t>2016</a:t>
            </a:r>
            <a:endParaRPr kumimoji="1" lang="en-US" sz="2000" dirty="0" smtClean="0">
              <a:solidFill>
                <a:schemeClr val="accent6"/>
              </a:solidFill>
              <a:latin typeface="Noto Sans CJK JP Medium" charset="-128"/>
              <a:ea typeface="Noto Sans CJK JP Medium" charset="-128"/>
              <a:cs typeface="Noto Sans CJK JP Medium" charset="-128"/>
            </a:endParaRPr>
          </a:p>
        </p:txBody>
      </p:sp>
      <p:sp>
        <p:nvSpPr>
          <p:cNvPr id="8" name="TextBox 7"/>
          <p:cNvSpPr txBox="1"/>
          <p:nvPr/>
        </p:nvSpPr>
        <p:spPr>
          <a:xfrm>
            <a:off x="1157109" y="2748566"/>
            <a:ext cx="1388533" cy="380480"/>
          </a:xfrm>
          <a:prstGeom prst="rect">
            <a:avLst/>
          </a:prstGeom>
          <a:noFill/>
        </p:spPr>
        <p:txBody>
          <a:bodyPr wrap="square" lIns="36000" tIns="36000" rIns="36000" bIns="36000" rtlCol="0">
            <a:spAutoFit/>
          </a:bodyPr>
          <a:lstStyle/>
          <a:p>
            <a:r>
              <a:rPr kumimoji="1" lang="en-US" altLang="ja-JP" sz="2000" dirty="0" smtClean="0">
                <a:solidFill>
                  <a:srgbClr val="33464D"/>
                </a:solidFill>
                <a:latin typeface="Noto Sans CJK JP Medium" charset="-128"/>
                <a:ea typeface="Noto Sans CJK JP Medium" charset="-128"/>
                <a:cs typeface="Noto Sans CJK JP Medium" charset="-128"/>
              </a:rPr>
              <a:t>2012</a:t>
            </a:r>
            <a:endParaRPr kumimoji="1" lang="en-US" sz="2000" dirty="0" smtClean="0">
              <a:solidFill>
                <a:srgbClr val="33464D"/>
              </a:solidFill>
              <a:latin typeface="Noto Sans CJK JP Medium" charset="-128"/>
              <a:ea typeface="Noto Sans CJK JP Medium" charset="-128"/>
              <a:cs typeface="Noto Sans CJK JP Medium" charset="-128"/>
            </a:endParaRPr>
          </a:p>
        </p:txBody>
      </p:sp>
      <p:sp>
        <p:nvSpPr>
          <p:cNvPr id="9" name="TextBox 8"/>
          <p:cNvSpPr txBox="1"/>
          <p:nvPr/>
        </p:nvSpPr>
        <p:spPr>
          <a:xfrm>
            <a:off x="1157108" y="4028110"/>
            <a:ext cx="1388533" cy="380480"/>
          </a:xfrm>
          <a:prstGeom prst="rect">
            <a:avLst/>
          </a:prstGeom>
          <a:noFill/>
        </p:spPr>
        <p:txBody>
          <a:bodyPr wrap="square" lIns="36000" tIns="36000" rIns="36000" bIns="36000" rtlCol="0">
            <a:spAutoFit/>
          </a:bodyPr>
          <a:lstStyle/>
          <a:p>
            <a:r>
              <a:rPr kumimoji="1" lang="en-US" altLang="ja-JP" sz="2000" dirty="0" smtClean="0">
                <a:solidFill>
                  <a:schemeClr val="accent6"/>
                </a:solidFill>
                <a:latin typeface="Noto Sans CJK JP Medium" charset="-128"/>
                <a:ea typeface="Noto Sans CJK JP Medium" charset="-128"/>
                <a:cs typeface="Noto Sans CJK JP Medium" charset="-128"/>
              </a:rPr>
              <a:t>2014</a:t>
            </a:r>
            <a:endParaRPr kumimoji="1" lang="en-US" sz="2000" dirty="0" smtClean="0">
              <a:solidFill>
                <a:schemeClr val="accent6"/>
              </a:solidFill>
              <a:latin typeface="Noto Sans CJK JP Medium" charset="-128"/>
              <a:ea typeface="Noto Sans CJK JP Medium" charset="-128"/>
              <a:cs typeface="Noto Sans CJK JP Medium" charset="-128"/>
            </a:endParaRPr>
          </a:p>
        </p:txBody>
      </p:sp>
      <p:sp>
        <p:nvSpPr>
          <p:cNvPr id="11" name="コンテンツ プレースホルダー 2"/>
          <p:cNvSpPr txBox="1">
            <a:spLocks/>
          </p:cNvSpPr>
          <p:nvPr/>
        </p:nvSpPr>
        <p:spPr bwMode="auto">
          <a:xfrm>
            <a:off x="3951112" y="1083214"/>
            <a:ext cx="4797777"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b="0" dirty="0" smtClean="0">
                <a:latin typeface="Noto Sans CJK JP Medium" charset="-128"/>
                <a:ea typeface="Noto Sans CJK JP Medium" charset="-128"/>
                <a:cs typeface="Noto Sans CJK JP Medium" charset="-128"/>
              </a:rPr>
              <a:t>某国内メーカーにて官公庁を相手に</a:t>
            </a:r>
            <a:endParaRPr lang="en-US" altLang="ja-JP" b="0" dirty="0" smtClean="0">
              <a:latin typeface="Noto Sans CJK JP Medium" charset="-128"/>
              <a:ea typeface="Noto Sans CJK JP Medium" charset="-128"/>
              <a:cs typeface="Noto Sans CJK JP Medium" charset="-128"/>
            </a:endParaRPr>
          </a:p>
          <a:p>
            <a:pPr marL="0" indent="0">
              <a:buNone/>
            </a:pPr>
            <a:r>
              <a:rPr lang="ja-JP" altLang="en-US" b="0" dirty="0" smtClean="0">
                <a:latin typeface="Noto Sans CJK JP Medium" charset="-128"/>
                <a:ea typeface="Noto Sans CJK JP Medium" charset="-128"/>
                <a:cs typeface="Noto Sans CJK JP Medium" charset="-128"/>
              </a:rPr>
              <a:t>システムの提案</a:t>
            </a:r>
            <a:r>
              <a:rPr lang="en-US" altLang="ja-JP" b="0" dirty="0" smtClean="0">
                <a:latin typeface="Noto Sans CJK JP Medium" charset="-128"/>
                <a:ea typeface="Noto Sans CJK JP Medium" charset="-128"/>
                <a:cs typeface="Noto Sans CJK JP Medium" charset="-128"/>
              </a:rPr>
              <a:t>/</a:t>
            </a:r>
            <a:r>
              <a:rPr lang="ja-JP" altLang="en-US" b="0" dirty="0" smtClean="0">
                <a:latin typeface="Noto Sans CJK JP Medium" charset="-128"/>
                <a:ea typeface="Noto Sans CJK JP Medium" charset="-128"/>
                <a:cs typeface="Noto Sans CJK JP Medium" charset="-128"/>
              </a:rPr>
              <a:t>設計。</a:t>
            </a:r>
            <a:endParaRPr lang="en-US" altLang="ja-JP" b="0" dirty="0">
              <a:latin typeface="Noto Sans CJK JP Medium" charset="-128"/>
              <a:ea typeface="Noto Sans CJK JP Medium" charset="-128"/>
              <a:cs typeface="Noto Sans CJK JP Medium" charset="-128"/>
            </a:endParaRPr>
          </a:p>
        </p:txBody>
      </p:sp>
      <p:sp>
        <p:nvSpPr>
          <p:cNvPr id="12" name="コンテンツ プレースホルダー 2"/>
          <p:cNvSpPr txBox="1">
            <a:spLocks/>
          </p:cNvSpPr>
          <p:nvPr/>
        </p:nvSpPr>
        <p:spPr bwMode="auto">
          <a:xfrm>
            <a:off x="3951112" y="2748046"/>
            <a:ext cx="5249332"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b="0" dirty="0">
                <a:latin typeface="Noto Sans CJK JP Medium" charset="-128"/>
                <a:ea typeface="Noto Sans CJK JP Medium" charset="-128"/>
                <a:cs typeface="Noto Sans CJK JP Medium" charset="-128"/>
              </a:rPr>
              <a:t>某インターネット広告</a:t>
            </a:r>
            <a:r>
              <a:rPr lang="ja-JP" altLang="en-US" b="0" dirty="0" smtClean="0">
                <a:latin typeface="Noto Sans CJK JP Medium" charset="-128"/>
                <a:ea typeface="Noto Sans CJK JP Medium" charset="-128"/>
                <a:cs typeface="Noto Sans CJK JP Medium" charset="-128"/>
              </a:rPr>
              <a:t>会社にて</a:t>
            </a:r>
            <a:endParaRPr lang="en-US" altLang="ja-JP" b="0" dirty="0" smtClean="0">
              <a:latin typeface="Noto Sans CJK JP Medium" charset="-128"/>
              <a:ea typeface="Noto Sans CJK JP Medium" charset="-128"/>
              <a:cs typeface="Noto Sans CJK JP Medium" charset="-128"/>
            </a:endParaRPr>
          </a:p>
          <a:p>
            <a:pPr marL="0" indent="0">
              <a:buNone/>
            </a:pPr>
            <a:r>
              <a:rPr lang="ja-JP" altLang="en-US" b="0" dirty="0" smtClean="0">
                <a:latin typeface="Noto Sans CJK JP Medium" charset="-128"/>
                <a:ea typeface="Noto Sans CJK JP Medium" charset="-128"/>
                <a:cs typeface="Noto Sans CJK JP Medium" charset="-128"/>
              </a:rPr>
              <a:t>フロントエンド</a:t>
            </a:r>
            <a:r>
              <a:rPr lang="en-US" altLang="ja-JP" b="0" dirty="0">
                <a:latin typeface="Noto Sans CJK JP Medium" charset="-128"/>
                <a:ea typeface="Noto Sans CJK JP Medium" charset="-128"/>
                <a:cs typeface="Noto Sans CJK JP Medium" charset="-128"/>
              </a:rPr>
              <a:t>/</a:t>
            </a:r>
            <a:r>
              <a:rPr lang="ja-JP" altLang="en-US" b="0" dirty="0">
                <a:latin typeface="Noto Sans CJK JP Medium" charset="-128"/>
                <a:ea typeface="Noto Sans CJK JP Medium" charset="-128"/>
                <a:cs typeface="Noto Sans CJK JP Medium" charset="-128"/>
              </a:rPr>
              <a:t>バックエンドの開発</a:t>
            </a:r>
            <a:r>
              <a:rPr lang="en-US" altLang="ja-JP" b="0" dirty="0">
                <a:latin typeface="Noto Sans CJK JP Medium" charset="-128"/>
                <a:ea typeface="Noto Sans CJK JP Medium" charset="-128"/>
                <a:cs typeface="Noto Sans CJK JP Medium" charset="-128"/>
              </a:rPr>
              <a:t>/</a:t>
            </a:r>
            <a:r>
              <a:rPr lang="ja-JP" altLang="en-US" b="0" dirty="0">
                <a:latin typeface="Noto Sans CJK JP Medium" charset="-128"/>
                <a:ea typeface="Noto Sans CJK JP Medium" charset="-128"/>
                <a:cs typeface="Noto Sans CJK JP Medium" charset="-128"/>
              </a:rPr>
              <a:t>構築</a:t>
            </a:r>
            <a:endParaRPr lang="en-US" altLang="ja-JP" b="0" dirty="0">
              <a:latin typeface="Noto Sans CJK JP Medium" charset="-128"/>
              <a:ea typeface="Noto Sans CJK JP Medium" charset="-128"/>
              <a:cs typeface="Noto Sans CJK JP Medium" charset="-128"/>
            </a:endParaRPr>
          </a:p>
        </p:txBody>
      </p:sp>
      <p:sp>
        <p:nvSpPr>
          <p:cNvPr id="14" name="コンテンツ プレースホルダー 2"/>
          <p:cNvSpPr txBox="1">
            <a:spLocks/>
          </p:cNvSpPr>
          <p:nvPr/>
        </p:nvSpPr>
        <p:spPr bwMode="auto">
          <a:xfrm>
            <a:off x="3951112" y="4028109"/>
            <a:ext cx="5249332"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endParaRPr lang="en-US" altLang="ja-JP" b="0" dirty="0">
              <a:latin typeface="Noto Sans CJK JP Medium" charset="-128"/>
              <a:ea typeface="Noto Sans CJK JP Medium" charset="-128"/>
              <a:cs typeface="Noto Sans CJK JP Medium" charset="-128"/>
            </a:endParaRPr>
          </a:p>
        </p:txBody>
      </p:sp>
      <p:sp>
        <p:nvSpPr>
          <p:cNvPr id="15" name="コンテンツ プレースホルダー 2"/>
          <p:cNvSpPr txBox="1">
            <a:spLocks/>
          </p:cNvSpPr>
          <p:nvPr/>
        </p:nvSpPr>
        <p:spPr bwMode="auto">
          <a:xfrm>
            <a:off x="3951112" y="4028109"/>
            <a:ext cx="5249332"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ja-JP" altLang="en-US" b="0" dirty="0">
                <a:latin typeface="Noto Sans CJK JP Medium" charset="-128"/>
                <a:ea typeface="Noto Sans CJK JP Medium" charset="-128"/>
                <a:cs typeface="Noto Sans CJK JP Medium" charset="-128"/>
              </a:rPr>
              <a:t>某ポータルサイト運営会社で</a:t>
            </a:r>
            <a:r>
              <a:rPr lang="en-US" altLang="ja-JP" b="0" dirty="0" smtClean="0">
                <a:latin typeface="Noto Sans CJK JP Medium" charset="-128"/>
                <a:ea typeface="Noto Sans CJK JP Medium" charset="-128"/>
                <a:cs typeface="Noto Sans CJK JP Medium" charset="-128"/>
              </a:rPr>
              <a:t>Hadoop</a:t>
            </a:r>
            <a:r>
              <a:rPr lang="ja-JP" altLang="en-US" b="0" dirty="0" smtClean="0">
                <a:latin typeface="Noto Sans CJK JP Medium" charset="-128"/>
                <a:ea typeface="Noto Sans CJK JP Medium" charset="-128"/>
                <a:cs typeface="Noto Sans CJK JP Medium" charset="-128"/>
              </a:rPr>
              <a:t>、</a:t>
            </a:r>
            <a:endParaRPr lang="en-US" altLang="ja-JP" b="0" dirty="0">
              <a:latin typeface="Noto Sans CJK JP Medium" charset="-128"/>
              <a:ea typeface="Noto Sans CJK JP Medium" charset="-128"/>
              <a:cs typeface="Noto Sans CJK JP Medium" charset="-128"/>
            </a:endParaRPr>
          </a:p>
          <a:p>
            <a:pPr marL="0" indent="0">
              <a:buNone/>
            </a:pPr>
            <a:r>
              <a:rPr lang="ja-JP" altLang="en-US" b="0" dirty="0">
                <a:latin typeface="Noto Sans CJK JP Medium" charset="-128"/>
                <a:ea typeface="Noto Sans CJK JP Medium" charset="-128"/>
                <a:cs typeface="Noto Sans CJK JP Medium" charset="-128"/>
              </a:rPr>
              <a:t>周辺エコシステムの開発</a:t>
            </a:r>
            <a:r>
              <a:rPr lang="en-US" altLang="ja-JP" b="0" dirty="0">
                <a:latin typeface="Noto Sans CJK JP Medium" charset="-128"/>
                <a:ea typeface="Noto Sans CJK JP Medium" charset="-128"/>
                <a:cs typeface="Noto Sans CJK JP Medium" charset="-128"/>
              </a:rPr>
              <a:t>/</a:t>
            </a:r>
            <a:r>
              <a:rPr lang="ja-JP" altLang="en-US" b="0" dirty="0">
                <a:latin typeface="Noto Sans CJK JP Medium" charset="-128"/>
                <a:ea typeface="Noto Sans CJK JP Medium" charset="-128"/>
                <a:cs typeface="Noto Sans CJK JP Medium" charset="-128"/>
              </a:rPr>
              <a:t>検証</a:t>
            </a:r>
            <a:r>
              <a:rPr lang="en-US" altLang="ja-JP" b="0" dirty="0">
                <a:latin typeface="Noto Sans CJK JP Medium" charset="-128"/>
                <a:ea typeface="Noto Sans CJK JP Medium" charset="-128"/>
                <a:cs typeface="Noto Sans CJK JP Medium" charset="-128"/>
              </a:rPr>
              <a:t>/</a:t>
            </a:r>
            <a:r>
              <a:rPr lang="ja-JP" altLang="en-US" b="0" dirty="0" smtClean="0">
                <a:latin typeface="Noto Sans CJK JP Medium" charset="-128"/>
                <a:ea typeface="Noto Sans CJK JP Medium" charset="-128"/>
                <a:cs typeface="Noto Sans CJK JP Medium" charset="-128"/>
              </a:rPr>
              <a:t>構築</a:t>
            </a:r>
            <a:endParaRPr lang="en-US" altLang="ja-JP" b="0" dirty="0" smtClean="0">
              <a:latin typeface="Noto Sans CJK JP Medium" charset="-128"/>
              <a:ea typeface="Noto Sans CJK JP Medium" charset="-128"/>
              <a:cs typeface="Noto Sans CJK JP Medium" charset="-128"/>
            </a:endParaRPr>
          </a:p>
        </p:txBody>
      </p:sp>
      <p:sp>
        <p:nvSpPr>
          <p:cNvPr id="16" name="コンテンツ プレースホルダー 2"/>
          <p:cNvSpPr txBox="1">
            <a:spLocks/>
          </p:cNvSpPr>
          <p:nvPr/>
        </p:nvSpPr>
        <p:spPr bwMode="auto">
          <a:xfrm>
            <a:off x="3951112" y="5505523"/>
            <a:ext cx="5249332" cy="761999"/>
          </a:xfrm>
          <a:prstGeom prst="rect">
            <a:avLst/>
          </a:prstGeom>
          <a:noFill/>
          <a:ln w="9525">
            <a:noFill/>
            <a:miter lim="800000"/>
            <a:headEnd/>
            <a:tailEnd/>
          </a:ln>
        </p:spPr>
        <p:txBody>
          <a:bodyPr vert="horz" wrap="square" lIns="36000" tIns="36000" rIns="36000" bIns="36000" numCol="1" anchor="t" anchorCtr="0" compatLnSpc="1">
            <a:prstTxWarp prst="textNoShape">
              <a:avLst/>
            </a:prstTxWarp>
          </a:bodyPr>
          <a:lstStyle>
            <a:lvl1pPr marL="342900" indent="-342900" algn="l" rtl="0" eaLnBrk="1" fontAlgn="base" hangingPunct="1">
              <a:spcBef>
                <a:spcPts val="838"/>
              </a:spcBef>
              <a:spcAft>
                <a:spcPct val="0"/>
              </a:spcAft>
              <a:buClr>
                <a:srgbClr val="0065BD"/>
              </a:buClr>
              <a:buFont typeface="Wingdings" panose="05000000000000000000" pitchFamily="2" charset="2"/>
              <a:buChar char="n"/>
              <a:defRPr kumimoji="1" sz="2000" b="1">
                <a:solidFill>
                  <a:srgbClr val="33464D"/>
                </a:solidFill>
                <a:latin typeface="メイリオ" pitchFamily="50" charset="-128"/>
                <a:ea typeface="メイリオ" pitchFamily="50" charset="-128"/>
                <a:cs typeface="メイリオ" pitchFamily="50" charset="-128"/>
              </a:defRPr>
            </a:lvl1pPr>
            <a:lvl2pPr marL="648000" indent="-342900" algn="l" rtl="0" eaLnBrk="1" fontAlgn="base" hangingPunct="1">
              <a:spcBef>
                <a:spcPts val="838"/>
              </a:spcBef>
              <a:spcAft>
                <a:spcPct val="0"/>
              </a:spcAft>
              <a:buClr>
                <a:srgbClr val="0065BD"/>
              </a:buClr>
              <a:buFont typeface="Wingdings" pitchFamily="2" charset="2"/>
              <a:buChar char="l"/>
              <a:defRPr kumimoji="1" sz="1800" b="1">
                <a:solidFill>
                  <a:srgbClr val="33464D"/>
                </a:solidFill>
                <a:latin typeface="メイリオ" pitchFamily="50" charset="-128"/>
                <a:ea typeface="メイリオ" pitchFamily="50" charset="-128"/>
                <a:cs typeface="メイリオ" pitchFamily="50" charset="-128"/>
              </a:defRPr>
            </a:lvl2pPr>
            <a:lvl3pPr marL="908050" indent="-342900" algn="l" rtl="0" eaLnBrk="1" fontAlgn="base" hangingPunct="1">
              <a:spcBef>
                <a:spcPts val="838"/>
              </a:spcBef>
              <a:spcAft>
                <a:spcPct val="0"/>
              </a:spcAft>
              <a:buClr>
                <a:srgbClr val="0065BD"/>
              </a:buClr>
              <a:buFont typeface="Arial" panose="020B0604020202020204" pitchFamily="34" charset="0"/>
              <a:buChar char="•"/>
              <a:defRPr kumimoji="1" sz="1600" b="1">
                <a:solidFill>
                  <a:srgbClr val="33464D"/>
                </a:solidFill>
                <a:latin typeface="メイリオ" pitchFamily="50" charset="-128"/>
                <a:ea typeface="メイリオ" pitchFamily="50" charset="-128"/>
                <a:cs typeface="メイリオ" pitchFamily="50" charset="-128"/>
              </a:defRPr>
            </a:lvl3pPr>
            <a:lvl4pPr marL="1228725" indent="-285750" algn="l" rtl="0" eaLnBrk="1" fontAlgn="base" hangingPunct="1">
              <a:spcBef>
                <a:spcPts val="838"/>
              </a:spcBef>
              <a:spcAft>
                <a:spcPct val="0"/>
              </a:spcAft>
              <a:buClr>
                <a:srgbClr val="0065BD"/>
              </a:buClr>
              <a:buFont typeface="Wingdings" panose="05000000000000000000" pitchFamily="2" charset="2"/>
              <a:buChar char="Ø"/>
              <a:defRPr kumimoji="1" sz="1400" b="1">
                <a:solidFill>
                  <a:srgbClr val="33464D"/>
                </a:solidFill>
                <a:latin typeface="メイリオ" pitchFamily="50" charset="-128"/>
                <a:ea typeface="メイリオ" pitchFamily="50" charset="-128"/>
                <a:cs typeface="メイリオ" pitchFamily="50" charset="-128"/>
              </a:defRPr>
            </a:lvl4pPr>
            <a:lvl5pPr marL="1520825" indent="-193675" algn="l" rtl="0" eaLnBrk="1" fontAlgn="base" hangingPunct="1">
              <a:spcBef>
                <a:spcPts val="838"/>
              </a:spcBef>
              <a:spcAft>
                <a:spcPct val="0"/>
              </a:spcAft>
              <a:buClr>
                <a:srgbClr val="0065BD"/>
              </a:buClr>
              <a:defRPr kumimoji="1" sz="1400" b="1">
                <a:solidFill>
                  <a:srgbClr val="33464D"/>
                </a:solidFill>
                <a:latin typeface="メイリオ" pitchFamily="50" charset="-128"/>
                <a:ea typeface="メイリオ" pitchFamily="50" charset="-128"/>
                <a:cs typeface="メイリオ" pitchFamily="50" charset="-128"/>
              </a:defRPr>
            </a:lvl5pPr>
            <a:lvl6pPr marL="2514600" indent="-228600" algn="l" rtl="0" eaLnBrk="1" fontAlgn="base" hangingPunct="1">
              <a:spcBef>
                <a:spcPct val="20000"/>
              </a:spcBef>
              <a:spcAft>
                <a:spcPct val="0"/>
              </a:spcAft>
              <a:buChar char="»"/>
              <a:defRPr kumimoji="1" sz="2000">
                <a:solidFill>
                  <a:srgbClr val="33464D"/>
                </a:solidFill>
                <a:latin typeface="+mn-lt"/>
                <a:ea typeface="+mn-ea"/>
                <a:cs typeface="+mn-cs"/>
              </a:defRPr>
            </a:lvl6pPr>
            <a:lvl7pPr marL="2971800" indent="-228600" algn="l" rtl="0" eaLnBrk="1" fontAlgn="base" hangingPunct="1">
              <a:spcBef>
                <a:spcPct val="20000"/>
              </a:spcBef>
              <a:spcAft>
                <a:spcPct val="0"/>
              </a:spcAft>
              <a:buChar char="»"/>
              <a:defRPr kumimoji="1" sz="2000">
                <a:solidFill>
                  <a:srgbClr val="33464D"/>
                </a:solidFill>
                <a:latin typeface="+mn-lt"/>
                <a:ea typeface="+mn-ea"/>
                <a:cs typeface="+mn-cs"/>
              </a:defRPr>
            </a:lvl7pPr>
            <a:lvl8pPr marL="3429000" indent="-228600" algn="l" rtl="0" eaLnBrk="1" fontAlgn="base" hangingPunct="1">
              <a:spcBef>
                <a:spcPct val="20000"/>
              </a:spcBef>
              <a:spcAft>
                <a:spcPct val="0"/>
              </a:spcAft>
              <a:buChar char="»"/>
              <a:defRPr kumimoji="1" sz="2000">
                <a:solidFill>
                  <a:srgbClr val="33464D"/>
                </a:solidFill>
                <a:latin typeface="+mn-lt"/>
                <a:ea typeface="+mn-ea"/>
                <a:cs typeface="+mn-cs"/>
              </a:defRPr>
            </a:lvl8pPr>
            <a:lvl9pPr marL="3886200" indent="-228600" algn="l" rtl="0" eaLnBrk="1" fontAlgn="base" hangingPunct="1">
              <a:spcBef>
                <a:spcPct val="20000"/>
              </a:spcBef>
              <a:spcAft>
                <a:spcPct val="0"/>
              </a:spcAft>
              <a:buChar char="»"/>
              <a:defRPr kumimoji="1" sz="2000">
                <a:solidFill>
                  <a:srgbClr val="33464D"/>
                </a:solidFill>
                <a:latin typeface="+mn-lt"/>
                <a:ea typeface="+mn-ea"/>
                <a:cs typeface="+mn-cs"/>
              </a:defRPr>
            </a:lvl9pPr>
          </a:lstStyle>
          <a:p>
            <a:pPr marL="0" indent="0">
              <a:buNone/>
            </a:pPr>
            <a:r>
              <a:rPr lang="en-US" altLang="ja-JP" b="0" dirty="0" smtClean="0">
                <a:latin typeface="Noto Sans CJK JP Medium" charset="-128"/>
                <a:ea typeface="Noto Sans CJK JP Medium" charset="-128"/>
                <a:cs typeface="Noto Sans CJK JP Medium" charset="-128"/>
              </a:rPr>
              <a:t>AWS(</a:t>
            </a:r>
            <a:r>
              <a:rPr lang="ja-JP" altLang="en-US" b="0" dirty="0" smtClean="0">
                <a:latin typeface="Noto Sans CJK JP Medium" charset="-128"/>
                <a:ea typeface="Noto Sans CJK JP Medium" charset="-128"/>
                <a:cs typeface="Noto Sans CJK JP Medium" charset="-128"/>
              </a:rPr>
              <a:t>主に</a:t>
            </a:r>
            <a:r>
              <a:rPr lang="en-US" altLang="ja-JP" b="0" dirty="0" smtClean="0">
                <a:latin typeface="Noto Sans CJK JP Medium" charset="-128"/>
                <a:ea typeface="Noto Sans CJK JP Medium" charset="-128"/>
                <a:cs typeface="Noto Sans CJK JP Medium" charset="-128"/>
              </a:rPr>
              <a:t>EMR)</a:t>
            </a:r>
            <a:r>
              <a:rPr lang="ja-JP" altLang="en-US" b="0" dirty="0" smtClean="0">
                <a:latin typeface="Noto Sans CJK JP Medium" charset="-128"/>
                <a:ea typeface="Noto Sans CJK JP Medium" charset="-128"/>
                <a:cs typeface="Noto Sans CJK JP Medium" charset="-128"/>
              </a:rPr>
              <a:t>に関連する自動化ツール作成、</a:t>
            </a:r>
            <a:endParaRPr lang="en-US" altLang="ja-JP" b="0" dirty="0" smtClean="0">
              <a:latin typeface="Noto Sans CJK JP Medium" charset="-128"/>
              <a:ea typeface="Noto Sans CJK JP Medium" charset="-128"/>
              <a:cs typeface="Noto Sans CJK JP Medium" charset="-128"/>
            </a:endParaRPr>
          </a:p>
          <a:p>
            <a:pPr marL="0" indent="0">
              <a:buNone/>
            </a:pPr>
            <a:r>
              <a:rPr lang="ja-JP" altLang="en-US" b="0" dirty="0" smtClean="0">
                <a:latin typeface="Noto Sans CJK JP Medium" charset="-128"/>
                <a:ea typeface="Noto Sans CJK JP Medium" charset="-128"/>
                <a:cs typeface="Noto Sans CJK JP Medium" charset="-128"/>
              </a:rPr>
              <a:t>技術支援など</a:t>
            </a:r>
            <a:endParaRPr lang="en-US" altLang="ja-JP" b="0" dirty="0">
              <a:latin typeface="Noto Sans CJK JP Medium" charset="-128"/>
              <a:ea typeface="Noto Sans CJK JP Medium" charset="-128"/>
              <a:cs typeface="Noto Sans CJK JP Medium" charset="-128"/>
            </a:endParaRPr>
          </a:p>
        </p:txBody>
      </p:sp>
      <p:sp>
        <p:nvSpPr>
          <p:cNvPr id="3" name="Rectangle 2"/>
          <p:cNvSpPr/>
          <p:nvPr/>
        </p:nvSpPr>
        <p:spPr bwMode="gray">
          <a:xfrm>
            <a:off x="620889" y="3781778"/>
            <a:ext cx="8703733" cy="2642669"/>
          </a:xfrm>
          <a:prstGeom prst="rect">
            <a:avLst/>
          </a:prstGeom>
          <a:noFill/>
          <a:ln w="28575" cmpd="sng">
            <a:solidFill>
              <a:schemeClr val="accent6"/>
            </a:solidFill>
            <a:miter lim="800000"/>
            <a:headEnd/>
            <a:tailEnd/>
          </a:ln>
        </p:spPr>
        <p:txBody>
          <a:bodyPr rtlCol="0" anchor="ctr"/>
          <a:lstStyle/>
          <a:p>
            <a:pPr algn="ctr"/>
            <a:endParaRPr lang="en-US" sz="1050" dirty="0" smtClean="0">
              <a:solidFill>
                <a:srgbClr val="33464D"/>
              </a:solidFill>
              <a:latin typeface="Noto Sans CJK JP Medium" charset="-128"/>
              <a:ea typeface="Noto Sans CJK JP Medium" charset="-128"/>
              <a:cs typeface="Noto Sans CJK JP Medium" charset="-128"/>
            </a:endParaRPr>
          </a:p>
        </p:txBody>
      </p:sp>
      <p:pic>
        <p:nvPicPr>
          <p:cNvPr id="17" name="図 8"/>
          <p:cNvPicPr>
            <a:picLocks noChangeAspect="1"/>
          </p:cNvPicPr>
          <p:nvPr/>
        </p:nvPicPr>
        <p:blipFill>
          <a:blip r:embed="rId2"/>
          <a:stretch>
            <a:fillRect/>
          </a:stretch>
        </p:blipFill>
        <p:spPr>
          <a:xfrm>
            <a:off x="531813" y="3375378"/>
            <a:ext cx="1465695" cy="345803"/>
          </a:xfrm>
          <a:prstGeom prst="rect">
            <a:avLst/>
          </a:prstGeom>
        </p:spPr>
      </p:pic>
    </p:spTree>
    <p:extLst>
      <p:ext uri="{BB962C8B-B14F-4D97-AF65-F5344CB8AC3E}">
        <p14:creationId xmlns:p14="http://schemas.microsoft.com/office/powerpoint/2010/main" val="11538178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リクルートテクノロジーズ　ビッグデータ部</a:t>
            </a:r>
            <a:endParaRPr kumimoji="1" lang="ja-JP" altLang="en-US" b="0" dirty="0">
              <a:latin typeface="Noto Sans CJK JP Medium" charset="-128"/>
              <a:ea typeface="Noto Sans CJK JP Medium" charset="-128"/>
              <a:cs typeface="Noto Sans CJK JP Medium" charset="-128"/>
            </a:endParaRPr>
          </a:p>
        </p:txBody>
      </p:sp>
      <p:sp>
        <p:nvSpPr>
          <p:cNvPr id="3" name="コンテンツ プレースホルダー 2"/>
          <p:cNvSpPr>
            <a:spLocks noGrp="1"/>
          </p:cNvSpPr>
          <p:nvPr>
            <p:ph idx="1"/>
          </p:nvPr>
        </p:nvSpPr>
        <p:spPr>
          <a:xfrm>
            <a:off x="381000" y="762000"/>
            <a:ext cx="9120188" cy="3569349"/>
          </a:xfrm>
        </p:spPr>
        <p:txBody>
          <a:bodyPr/>
          <a:lstStyle/>
          <a:p>
            <a:r>
              <a:rPr lang="ja-JP" altLang="en-US" b="0" dirty="0" smtClean="0">
                <a:latin typeface="Noto Sans CJK JP Medium" charset="-128"/>
                <a:ea typeface="Noto Sans CJK JP Medium" charset="-128"/>
                <a:cs typeface="Noto Sans CJK JP Medium" charset="-128"/>
              </a:rPr>
              <a:t>リクルートの</a:t>
            </a:r>
            <a:r>
              <a:rPr kumimoji="1" lang="ja-JP" altLang="en-US" b="0" dirty="0" smtClean="0">
                <a:latin typeface="Noto Sans CJK JP Medium" charset="-128"/>
                <a:ea typeface="Noto Sans CJK JP Medium" charset="-128"/>
                <a:cs typeface="Noto Sans CJK JP Medium" charset="-128"/>
              </a:rPr>
              <a:t>サービス</a:t>
            </a:r>
            <a:endParaRPr kumimoji="1" lang="en-US" altLang="ja-JP" b="0" dirty="0" smtClean="0">
              <a:latin typeface="Noto Sans CJK JP Medium" charset="-128"/>
              <a:ea typeface="Noto Sans CJK JP Medium" charset="-128"/>
              <a:cs typeface="Noto Sans CJK JP Medium" charset="-128"/>
            </a:endParaRPr>
          </a:p>
          <a:p>
            <a:endParaRPr lang="en-US" altLang="ja-JP" b="0" dirty="0">
              <a:latin typeface="Noto Sans CJK JP Medium" charset="-128"/>
              <a:ea typeface="Noto Sans CJK JP Medium" charset="-128"/>
              <a:cs typeface="Noto Sans CJK JP Medium" charset="-128"/>
            </a:endParaRPr>
          </a:p>
          <a:p>
            <a:endParaRPr kumimoji="1" lang="en-US" altLang="ja-JP" b="0" dirty="0" smtClean="0">
              <a:latin typeface="Noto Sans CJK JP Medium" charset="-128"/>
              <a:ea typeface="Noto Sans CJK JP Medium" charset="-128"/>
              <a:cs typeface="Noto Sans CJK JP Medium" charset="-128"/>
            </a:endParaRPr>
          </a:p>
          <a:p>
            <a:endParaRPr lang="en-US" altLang="ja-JP" b="0" dirty="0">
              <a:latin typeface="Noto Sans CJK JP Medium" charset="-128"/>
              <a:ea typeface="Noto Sans CJK JP Medium" charset="-128"/>
              <a:cs typeface="Noto Sans CJK JP Medium" charset="-128"/>
            </a:endParaRPr>
          </a:p>
          <a:p>
            <a:endParaRPr kumimoji="1" lang="en-US" altLang="ja-JP" b="0" dirty="0" smtClean="0">
              <a:latin typeface="Noto Sans CJK JP Medium" charset="-128"/>
              <a:ea typeface="Noto Sans CJK JP Medium" charset="-128"/>
              <a:cs typeface="Noto Sans CJK JP Medium" charset="-128"/>
            </a:endParaRPr>
          </a:p>
          <a:p>
            <a:endParaRPr kumimoji="1" lang="en-US" altLang="ja-JP" b="0" dirty="0" smtClean="0">
              <a:latin typeface="Noto Sans CJK JP Medium" charset="-128"/>
              <a:ea typeface="Noto Sans CJK JP Medium" charset="-128"/>
              <a:cs typeface="Noto Sans CJK JP Medium" charset="-128"/>
            </a:endParaRPr>
          </a:p>
          <a:p>
            <a:r>
              <a:rPr lang="ja-JP" altLang="en-US" b="0" dirty="0" smtClean="0">
                <a:latin typeface="Noto Sans CJK JP Medium" charset="-128"/>
                <a:ea typeface="Noto Sans CJK JP Medium" charset="-128"/>
                <a:cs typeface="Noto Sans CJK JP Medium" charset="-128"/>
              </a:rPr>
              <a:t>ビジネスモデル＝リボンモデル</a:t>
            </a:r>
            <a:endParaRPr lang="en-US" altLang="ja-JP" b="0" dirty="0" smtClean="0">
              <a:latin typeface="Noto Sans CJK JP Medium" charset="-128"/>
              <a:ea typeface="Noto Sans CJK JP Medium" charset="-128"/>
              <a:cs typeface="Noto Sans CJK JP Medium" charset="-128"/>
            </a:endParaRPr>
          </a:p>
          <a:p>
            <a:pPr lvl="1"/>
            <a:r>
              <a:rPr lang="ja-JP" altLang="en-US" b="0" dirty="0" smtClean="0">
                <a:latin typeface="Noto Sans CJK JP Medium" charset="-128"/>
                <a:ea typeface="Noto Sans CJK JP Medium" charset="-128"/>
                <a:cs typeface="Noto Sans CJK JP Medium" charset="-128"/>
              </a:rPr>
              <a:t>カスタマとクライアントをマッチングさせて、その時にフィーをもらう</a:t>
            </a:r>
            <a:endParaRPr lang="en-US" altLang="ja-JP" b="0" dirty="0" smtClean="0">
              <a:latin typeface="Noto Sans CJK JP Medium" charset="-128"/>
              <a:ea typeface="Noto Sans CJK JP Medium" charset="-128"/>
              <a:cs typeface="Noto Sans CJK JP Medium" charset="-128"/>
            </a:endParaRPr>
          </a:p>
          <a:p>
            <a:pPr lvl="1"/>
            <a:endParaRPr lang="en-US" altLang="ja-JP" b="0" dirty="0">
              <a:latin typeface="Noto Sans CJK JP Medium" charset="-128"/>
              <a:ea typeface="Noto Sans CJK JP Medium" charset="-128"/>
              <a:cs typeface="Noto Sans CJK JP Medium" charset="-128"/>
            </a:endParaRPr>
          </a:p>
          <a:p>
            <a:pPr lvl="1"/>
            <a:endParaRPr lang="en-US" altLang="ja-JP" b="0" dirty="0" smtClean="0">
              <a:latin typeface="Noto Sans CJK JP Medium" charset="-128"/>
              <a:ea typeface="Noto Sans CJK JP Medium" charset="-128"/>
              <a:cs typeface="Noto Sans CJK JP Medium" charset="-128"/>
            </a:endParaRPr>
          </a:p>
          <a:p>
            <a:pPr lvl="1"/>
            <a:endParaRPr lang="en-US" altLang="ja-JP" b="0" dirty="0">
              <a:latin typeface="Noto Sans CJK JP Medium" charset="-128"/>
              <a:ea typeface="Noto Sans CJK JP Medium" charset="-128"/>
              <a:cs typeface="Noto Sans CJK JP Medium" charset="-128"/>
            </a:endParaRPr>
          </a:p>
          <a:p>
            <a:pPr lvl="1"/>
            <a:endParaRPr lang="en-US" altLang="ja-JP" b="0" dirty="0" smtClean="0">
              <a:latin typeface="Noto Sans CJK JP Medium" charset="-128"/>
              <a:ea typeface="Noto Sans CJK JP Medium" charset="-128"/>
              <a:cs typeface="Noto Sans CJK JP Medium" charset="-128"/>
            </a:endParaRPr>
          </a:p>
          <a:p>
            <a:pPr lvl="1"/>
            <a:endParaRPr lang="en-US" altLang="ja-JP" b="0" dirty="0" smtClean="0">
              <a:latin typeface="Noto Sans CJK JP Medium" charset="-128"/>
              <a:ea typeface="Noto Sans CJK JP Medium" charset="-128"/>
              <a:cs typeface="Noto Sans CJK JP Medium" charset="-128"/>
            </a:endParaRPr>
          </a:p>
          <a:p>
            <a:r>
              <a:rPr kumimoji="1" lang="ja-JP" altLang="en-US" b="0" dirty="0" smtClean="0">
                <a:latin typeface="Noto Sans CJK JP Medium" charset="-128"/>
                <a:ea typeface="Noto Sans CJK JP Medium" charset="-128"/>
                <a:cs typeface="Noto Sans CJK JP Medium" charset="-128"/>
              </a:rPr>
              <a:t>ビッグデータ部では、カスタマとクライアントのマッチングを</a:t>
            </a:r>
            <a:r>
              <a:rPr kumimoji="1" lang="en-US" altLang="ja-JP" b="0" dirty="0" smtClean="0">
                <a:latin typeface="Noto Sans CJK JP Medium" charset="-128"/>
                <a:ea typeface="Noto Sans CJK JP Medium" charset="-128"/>
                <a:cs typeface="Noto Sans CJK JP Medium" charset="-128"/>
              </a:rPr>
              <a:t/>
            </a:r>
            <a:br>
              <a:rPr kumimoji="1" lang="en-US" altLang="ja-JP" b="0" dirty="0" smtClean="0">
                <a:latin typeface="Noto Sans CJK JP Medium" charset="-128"/>
                <a:ea typeface="Noto Sans CJK JP Medium" charset="-128"/>
                <a:cs typeface="Noto Sans CJK JP Medium" charset="-128"/>
              </a:rPr>
            </a:br>
            <a:r>
              <a:rPr kumimoji="1" lang="ja-JP" altLang="en-US" b="0" dirty="0" smtClean="0">
                <a:latin typeface="Noto Sans CJK JP Medium" charset="-128"/>
                <a:ea typeface="Noto Sans CJK JP Medium" charset="-128"/>
                <a:cs typeface="Noto Sans CJK JP Medium" charset="-128"/>
              </a:rPr>
              <a:t>ビッグデータ分析を使って支援</a:t>
            </a:r>
            <a:endParaRPr kumimoji="1" lang="ja-JP" altLang="en-US" b="0" dirty="0">
              <a:latin typeface="Noto Sans CJK JP Medium" charset="-128"/>
              <a:ea typeface="Noto Sans CJK JP Medium" charset="-128"/>
              <a:cs typeface="Noto Sans CJK JP Medium" charset="-128"/>
            </a:endParaRPr>
          </a:p>
        </p:txBody>
      </p:sp>
      <p:sp>
        <p:nvSpPr>
          <p:cNvPr id="5" name="三角形 4"/>
          <p:cNvSpPr/>
          <p:nvPr/>
        </p:nvSpPr>
        <p:spPr bwMode="gray">
          <a:xfrm rot="5400000">
            <a:off x="2543646" y="3709759"/>
            <a:ext cx="1357581" cy="2010066"/>
          </a:xfrm>
          <a:prstGeom prst="triangle">
            <a:avLst/>
          </a:prstGeom>
          <a:solidFill>
            <a:srgbClr val="FFCCCC"/>
          </a:solidFill>
          <a:ln w="9525" cmpd="sng">
            <a:solidFill>
              <a:schemeClr val="tx1"/>
            </a:solidFill>
            <a:miter lim="800000"/>
            <a:headEnd/>
            <a:tailEnd/>
          </a:ln>
        </p:spPr>
        <p:txBody>
          <a:bodyPr rtlCol="0" anchor="ctr"/>
          <a:lstStyle/>
          <a:p>
            <a:pPr algn="ctr"/>
            <a:endParaRPr kumimoji="1" lang="ja-JP" altLang="en-US" sz="1050" dirty="0" smtClean="0">
              <a:solidFill>
                <a:srgbClr val="33464D"/>
              </a:solidFill>
              <a:latin typeface="Noto Sans CJK JP Medium" charset="-128"/>
              <a:ea typeface="Noto Sans CJK JP Medium" charset="-128"/>
              <a:cs typeface="Noto Sans CJK JP Medium" charset="-128"/>
            </a:endParaRPr>
          </a:p>
        </p:txBody>
      </p:sp>
      <p:sp>
        <p:nvSpPr>
          <p:cNvPr id="6" name="三角形 5"/>
          <p:cNvSpPr/>
          <p:nvPr/>
        </p:nvSpPr>
        <p:spPr bwMode="gray">
          <a:xfrm rot="16200000">
            <a:off x="4553713" y="3703198"/>
            <a:ext cx="1357581" cy="2010066"/>
          </a:xfrm>
          <a:prstGeom prst="triangle">
            <a:avLst/>
          </a:prstGeom>
          <a:solidFill>
            <a:srgbClr val="FFCCCC"/>
          </a:solidFill>
          <a:ln w="9525" cmpd="sng">
            <a:solidFill>
              <a:schemeClr val="tx1"/>
            </a:solidFill>
            <a:miter lim="800000"/>
            <a:headEnd/>
            <a:tailEnd/>
          </a:ln>
        </p:spPr>
        <p:txBody>
          <a:bodyPr rtlCol="0" anchor="ctr"/>
          <a:lstStyle/>
          <a:p>
            <a:pPr algn="ctr"/>
            <a:endParaRPr kumimoji="1" lang="ja-JP" altLang="en-US" sz="1050" dirty="0" smtClean="0">
              <a:solidFill>
                <a:srgbClr val="33464D"/>
              </a:solidFill>
              <a:latin typeface="Noto Sans CJK JP Medium" charset="-128"/>
              <a:ea typeface="Noto Sans CJK JP Medium" charset="-128"/>
              <a:cs typeface="Noto Sans CJK JP Medium" charset="-128"/>
            </a:endParaRPr>
          </a:p>
        </p:txBody>
      </p:sp>
      <p:sp>
        <p:nvSpPr>
          <p:cNvPr id="7" name="テキスト ボックス 6"/>
          <p:cNvSpPr txBox="1"/>
          <p:nvPr/>
        </p:nvSpPr>
        <p:spPr>
          <a:xfrm>
            <a:off x="2252807" y="4397984"/>
            <a:ext cx="1699768" cy="688256"/>
          </a:xfrm>
          <a:prstGeom prst="rect">
            <a:avLst/>
          </a:prstGeom>
          <a:noFill/>
        </p:spPr>
        <p:txBody>
          <a:bodyPr wrap="square" lIns="36000" tIns="36000" rIns="36000" bIns="36000" rtlCol="0">
            <a:spAutoFit/>
          </a:bodyPr>
          <a:lstStyle/>
          <a:p>
            <a:r>
              <a:rPr kumimoji="1" lang="ja-JP" altLang="en-US" sz="2000" dirty="0" smtClean="0">
                <a:solidFill>
                  <a:srgbClr val="33464D"/>
                </a:solidFill>
                <a:latin typeface="Noto Sans CJK JP Medium" charset="-128"/>
                <a:ea typeface="Noto Sans CJK JP Medium" charset="-128"/>
                <a:cs typeface="Noto Sans CJK JP Medium" charset="-128"/>
              </a:rPr>
              <a:t>カスタマ（ユーザ）</a:t>
            </a:r>
          </a:p>
        </p:txBody>
      </p:sp>
      <p:sp>
        <p:nvSpPr>
          <p:cNvPr id="8" name="テキスト ボックス 7"/>
          <p:cNvSpPr txBox="1"/>
          <p:nvPr/>
        </p:nvSpPr>
        <p:spPr>
          <a:xfrm>
            <a:off x="4230848" y="4485807"/>
            <a:ext cx="2006689" cy="688256"/>
          </a:xfrm>
          <a:prstGeom prst="rect">
            <a:avLst/>
          </a:prstGeom>
          <a:noFill/>
        </p:spPr>
        <p:txBody>
          <a:bodyPr wrap="square" lIns="36000" tIns="36000" rIns="36000" bIns="36000" rtlCol="0">
            <a:spAutoFit/>
          </a:bodyPr>
          <a:lstStyle/>
          <a:p>
            <a:pPr algn="r"/>
            <a:r>
              <a:rPr kumimoji="1" lang="ja-JP" altLang="en-US" sz="2000" dirty="0" smtClean="0">
                <a:solidFill>
                  <a:srgbClr val="33464D"/>
                </a:solidFill>
                <a:latin typeface="Noto Sans CJK JP Medium" charset="-128"/>
                <a:ea typeface="Noto Sans CJK JP Medium" charset="-128"/>
                <a:cs typeface="Noto Sans CJK JP Medium" charset="-128"/>
              </a:rPr>
              <a:t>クライアント</a:t>
            </a:r>
            <a:endParaRPr kumimoji="1" lang="en-US" altLang="ja-JP" sz="2000" dirty="0" smtClean="0">
              <a:solidFill>
                <a:srgbClr val="33464D"/>
              </a:solidFill>
              <a:latin typeface="Noto Sans CJK JP Medium" charset="-128"/>
              <a:ea typeface="Noto Sans CJK JP Medium" charset="-128"/>
              <a:cs typeface="Noto Sans CJK JP Medium" charset="-128"/>
            </a:endParaRPr>
          </a:p>
          <a:p>
            <a:pPr algn="r"/>
            <a:r>
              <a:rPr kumimoji="1" lang="ja-JP" altLang="en-US" sz="2000" dirty="0" smtClean="0">
                <a:solidFill>
                  <a:srgbClr val="33464D"/>
                </a:solidFill>
                <a:latin typeface="Noto Sans CJK JP Medium" charset="-128"/>
                <a:ea typeface="Noto Sans CJK JP Medium" charset="-128"/>
                <a:cs typeface="Noto Sans CJK JP Medium" charset="-128"/>
              </a:rPr>
              <a:t>（企業）</a:t>
            </a:r>
          </a:p>
        </p:txBody>
      </p:sp>
      <p:grpSp>
        <p:nvGrpSpPr>
          <p:cNvPr id="29" name="図形グループ 28"/>
          <p:cNvGrpSpPr/>
          <p:nvPr/>
        </p:nvGrpSpPr>
        <p:grpSpPr>
          <a:xfrm>
            <a:off x="691051" y="1362716"/>
            <a:ext cx="8385215" cy="1758851"/>
            <a:chOff x="628308" y="1122182"/>
            <a:chExt cx="10186023" cy="2687223"/>
          </a:xfrm>
        </p:grpSpPr>
        <p:pic>
          <p:nvPicPr>
            <p:cNvPr id="9" name="図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8308" y="1191846"/>
              <a:ext cx="2211387" cy="617131"/>
            </a:xfrm>
            <a:prstGeom prst="rect">
              <a:avLst/>
            </a:prstGeom>
          </p:spPr>
        </p:pic>
        <p:pic>
          <p:nvPicPr>
            <p:cNvPr id="12" name="図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3718" y="1867968"/>
              <a:ext cx="2053178" cy="750968"/>
            </a:xfrm>
            <a:prstGeom prst="rect">
              <a:avLst/>
            </a:prstGeom>
          </p:spPr>
        </p:pic>
        <p:pic>
          <p:nvPicPr>
            <p:cNvPr id="13" name="図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54414" y="1803654"/>
              <a:ext cx="1706713" cy="818094"/>
            </a:xfrm>
            <a:prstGeom prst="rect">
              <a:avLst/>
            </a:prstGeom>
          </p:spPr>
        </p:pic>
        <p:pic>
          <p:nvPicPr>
            <p:cNvPr id="15" name="図 1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94736" y="1867968"/>
              <a:ext cx="2409565" cy="778475"/>
            </a:xfrm>
            <a:prstGeom prst="rect">
              <a:avLst/>
            </a:prstGeom>
          </p:spPr>
        </p:pic>
        <p:pic>
          <p:nvPicPr>
            <p:cNvPr id="16" name="図 1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113712" y="1792052"/>
              <a:ext cx="2247584" cy="869755"/>
            </a:xfrm>
            <a:prstGeom prst="rect">
              <a:avLst/>
            </a:prstGeom>
          </p:spPr>
        </p:pic>
        <p:pic>
          <p:nvPicPr>
            <p:cNvPr id="17" name="図 1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93964" y="2647579"/>
              <a:ext cx="1716635" cy="785929"/>
            </a:xfrm>
            <a:prstGeom prst="rect">
              <a:avLst/>
            </a:prstGeom>
          </p:spPr>
        </p:pic>
        <p:pic>
          <p:nvPicPr>
            <p:cNvPr id="18" name="図 1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37080" y="2712571"/>
              <a:ext cx="1845381" cy="660079"/>
            </a:xfrm>
            <a:prstGeom prst="rect">
              <a:avLst/>
            </a:prstGeom>
          </p:spPr>
        </p:pic>
        <p:pic>
          <p:nvPicPr>
            <p:cNvPr id="19" name="図 18"/>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165245" y="2590003"/>
              <a:ext cx="2465338" cy="782647"/>
            </a:xfrm>
            <a:prstGeom prst="rect">
              <a:avLst/>
            </a:prstGeom>
          </p:spPr>
        </p:pic>
        <p:sp>
          <p:nvSpPr>
            <p:cNvPr id="24" name="テキスト ボックス 23"/>
            <p:cNvSpPr txBox="1"/>
            <p:nvPr/>
          </p:nvSpPr>
          <p:spPr>
            <a:xfrm>
              <a:off x="7426012" y="2851913"/>
              <a:ext cx="3388319" cy="957492"/>
            </a:xfrm>
            <a:prstGeom prst="rect">
              <a:avLst/>
            </a:prstGeom>
            <a:noFill/>
          </p:spPr>
          <p:txBody>
            <a:bodyPr wrap="square" lIns="36000" tIns="36000" rIns="36000" bIns="36000" rtlCol="0">
              <a:spAutoFit/>
            </a:bodyPr>
            <a:lstStyle/>
            <a:p>
              <a:r>
                <a:rPr kumimoji="1" lang="ja-JP" altLang="en-US" sz="1800" dirty="0" smtClean="0">
                  <a:solidFill>
                    <a:srgbClr val="33464D"/>
                  </a:solidFill>
                  <a:latin typeface="Noto Sans CJK JP Medium" charset="-128"/>
                  <a:ea typeface="Noto Sans CJK JP Medium" charset="-128"/>
                  <a:cs typeface="Noto Sans CJK JP Medium" charset="-128"/>
                </a:rPr>
                <a:t>・・</a:t>
              </a:r>
              <a:r>
                <a:rPr kumimoji="1" lang="ja-JP" altLang="en-US" sz="1800" smtClean="0">
                  <a:solidFill>
                    <a:srgbClr val="33464D"/>
                  </a:solidFill>
                  <a:latin typeface="Noto Sans CJK JP Medium" charset="-128"/>
                  <a:ea typeface="Noto Sans CJK JP Medium" charset="-128"/>
                  <a:cs typeface="Noto Sans CJK JP Medium" charset="-128"/>
                </a:rPr>
                <a:t>・１００以上の</a:t>
              </a:r>
              <a:r>
                <a:rPr kumimoji="1" lang="ja-JP" altLang="en-US" sz="1800" dirty="0" smtClean="0">
                  <a:solidFill>
                    <a:srgbClr val="33464D"/>
                  </a:solidFill>
                  <a:latin typeface="Noto Sans CJK JP Medium" charset="-128"/>
                  <a:ea typeface="Noto Sans CJK JP Medium" charset="-128"/>
                  <a:cs typeface="Noto Sans CJK JP Medium" charset="-128"/>
                </a:rPr>
                <a:t>サービス</a:t>
              </a:r>
            </a:p>
          </p:txBody>
        </p:sp>
        <p:pic>
          <p:nvPicPr>
            <p:cNvPr id="25" name="図 2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931778" y="1217820"/>
              <a:ext cx="2373723" cy="591157"/>
            </a:xfrm>
            <a:prstGeom prst="rect">
              <a:avLst/>
            </a:prstGeom>
          </p:spPr>
        </p:pic>
        <p:pic>
          <p:nvPicPr>
            <p:cNvPr id="26" name="図 25"/>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272371" y="1162085"/>
              <a:ext cx="2251087" cy="625302"/>
            </a:xfrm>
            <a:prstGeom prst="rect">
              <a:avLst/>
            </a:prstGeom>
          </p:spPr>
        </p:pic>
        <p:pic>
          <p:nvPicPr>
            <p:cNvPr id="27" name="図 26"/>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614615" y="1122182"/>
              <a:ext cx="1795416" cy="681472"/>
            </a:xfrm>
            <a:prstGeom prst="rect">
              <a:avLst/>
            </a:prstGeom>
          </p:spPr>
        </p:pic>
      </p:grpSp>
    </p:spTree>
    <p:extLst>
      <p:ext uri="{BB962C8B-B14F-4D97-AF65-F5344CB8AC3E}">
        <p14:creationId xmlns:p14="http://schemas.microsoft.com/office/powerpoint/2010/main" val="2384366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b="0" dirty="0" smtClean="0">
                <a:latin typeface="Noto Sans CJK JP Medium" charset="-128"/>
                <a:ea typeface="Noto Sans CJK JP Medium" charset="-128"/>
                <a:cs typeface="Noto Sans CJK JP Medium" charset="-128"/>
              </a:rPr>
              <a:t>EMR</a:t>
            </a:r>
            <a:r>
              <a:rPr kumimoji="1" lang="ja-JP" altLang="en-US" b="0" dirty="0" smtClean="0">
                <a:latin typeface="Noto Sans CJK JP Medium" charset="-128"/>
                <a:ea typeface="Noto Sans CJK JP Medium" charset="-128"/>
                <a:cs typeface="Noto Sans CJK JP Medium" charset="-128"/>
              </a:rPr>
              <a:t>活用事例</a:t>
            </a:r>
            <a:endParaRPr kumimoji="1" lang="ja-JP" altLang="en-US" b="0" dirty="0">
              <a:latin typeface="Noto Sans CJK JP Medium" charset="-128"/>
              <a:ea typeface="Noto Sans CJK JP Medium" charset="-128"/>
              <a:cs typeface="Noto Sans CJK JP Medium" charset="-128"/>
            </a:endParaRPr>
          </a:p>
        </p:txBody>
      </p:sp>
      <p:sp>
        <p:nvSpPr>
          <p:cNvPr id="3" name="コンテンツ プレースホルダー 2"/>
          <p:cNvSpPr>
            <a:spLocks noGrp="1"/>
          </p:cNvSpPr>
          <p:nvPr>
            <p:ph idx="1"/>
          </p:nvPr>
        </p:nvSpPr>
        <p:spPr/>
        <p:txBody>
          <a:bodyPr/>
          <a:lstStyle/>
          <a:p>
            <a:r>
              <a:rPr kumimoji="1" lang="ja-JP" altLang="en-US" b="0" dirty="0" smtClean="0">
                <a:latin typeface="Noto Sans CJK JP Medium" charset="-128"/>
                <a:ea typeface="Noto Sans CJK JP Medium" charset="-128"/>
                <a:cs typeface="Noto Sans CJK JP Medium" charset="-128"/>
              </a:rPr>
              <a:t>カスタマとクライアントのマッチングを機械学習で支援</a:t>
            </a:r>
            <a:endParaRPr kumimoji="1" lang="en-US" altLang="ja-JP" b="0" dirty="0" smtClean="0">
              <a:latin typeface="Noto Sans CJK JP Medium" charset="-128"/>
              <a:ea typeface="Noto Sans CJK JP Medium" charset="-128"/>
              <a:cs typeface="Noto Sans CJK JP Medium" charset="-128"/>
            </a:endParaRPr>
          </a:p>
          <a:p>
            <a:pPr lvl="1"/>
            <a:r>
              <a:rPr lang="ja-JP" altLang="en-US" b="0" dirty="0" smtClean="0">
                <a:latin typeface="Noto Sans CJK JP Medium" charset="-128"/>
                <a:ea typeface="Noto Sans CJK JP Medium" charset="-128"/>
                <a:cs typeface="Noto Sans CJK JP Medium" charset="-128"/>
              </a:rPr>
              <a:t>夜間ジョブにより、カスタマ</a:t>
            </a:r>
            <a:r>
              <a:rPr lang="en-US" altLang="ja-JP" b="0" dirty="0" smtClean="0">
                <a:latin typeface="Noto Sans CJK JP Medium" charset="-128"/>
                <a:ea typeface="Noto Sans CJK JP Medium" charset="-128"/>
                <a:cs typeface="Noto Sans CJK JP Medium" charset="-128"/>
              </a:rPr>
              <a:t>(</a:t>
            </a:r>
            <a:r>
              <a:rPr lang="ja-JP" altLang="en-US" b="0" dirty="0" smtClean="0">
                <a:latin typeface="Noto Sans CJK JP Medium" charset="-128"/>
                <a:ea typeface="Noto Sans CJK JP Medium" charset="-128"/>
                <a:cs typeface="Noto Sans CJK JP Medium" charset="-128"/>
              </a:rPr>
              <a:t>約</a:t>
            </a:r>
            <a:r>
              <a:rPr lang="en-US" altLang="ja-JP" b="0" dirty="0" smtClean="0">
                <a:latin typeface="Noto Sans CJK JP Medium" charset="-128"/>
                <a:ea typeface="Noto Sans CJK JP Medium" charset="-128"/>
                <a:cs typeface="Noto Sans CJK JP Medium" charset="-128"/>
              </a:rPr>
              <a:t>1</a:t>
            </a:r>
            <a:r>
              <a:rPr lang="ja-JP" altLang="en-US" b="0" dirty="0" smtClean="0">
                <a:latin typeface="Noto Sans CJK JP Medium" charset="-128"/>
                <a:ea typeface="Noto Sans CJK JP Medium" charset="-128"/>
                <a:cs typeface="Noto Sans CJK JP Medium" charset="-128"/>
              </a:rPr>
              <a:t>万アクティブユーザ</a:t>
            </a:r>
            <a:r>
              <a:rPr lang="en-US" altLang="ja-JP" b="0" dirty="0" smtClean="0">
                <a:latin typeface="Noto Sans CJK JP Medium" charset="-128"/>
                <a:ea typeface="Noto Sans CJK JP Medium" charset="-128"/>
                <a:cs typeface="Noto Sans CJK JP Medium" charset="-128"/>
              </a:rPr>
              <a:t>)</a:t>
            </a:r>
            <a:r>
              <a:rPr lang="ja-JP" altLang="en-US" b="0" dirty="0" smtClean="0">
                <a:latin typeface="Noto Sans CJK JP Medium" charset="-128"/>
                <a:ea typeface="Noto Sans CJK JP Medium" charset="-128"/>
                <a:cs typeface="Noto Sans CJK JP Medium" charset="-128"/>
              </a:rPr>
              <a:t>とクライアント</a:t>
            </a:r>
            <a:r>
              <a:rPr lang="en-US" altLang="ja-JP" b="0" dirty="0" smtClean="0">
                <a:latin typeface="Noto Sans CJK JP Medium" charset="-128"/>
                <a:ea typeface="Noto Sans CJK JP Medium" charset="-128"/>
                <a:cs typeface="Noto Sans CJK JP Medium" charset="-128"/>
              </a:rPr>
              <a:t>(</a:t>
            </a:r>
            <a:r>
              <a:rPr lang="ja-JP" altLang="en-US" b="0" dirty="0" smtClean="0">
                <a:latin typeface="Noto Sans CJK JP Medium" charset="-128"/>
                <a:ea typeface="Noto Sans CJK JP Medium" charset="-128"/>
                <a:cs typeface="Noto Sans CJK JP Medium" charset="-128"/>
              </a:rPr>
              <a:t>約一万件</a:t>
            </a:r>
            <a:r>
              <a:rPr lang="en-US" altLang="ja-JP" b="0" dirty="0" smtClean="0">
                <a:latin typeface="Noto Sans CJK JP Medium" charset="-128"/>
                <a:ea typeface="Noto Sans CJK JP Medium" charset="-128"/>
                <a:cs typeface="Noto Sans CJK JP Medium" charset="-128"/>
              </a:rPr>
              <a:t>)</a:t>
            </a:r>
            <a:r>
              <a:rPr lang="ja-JP" altLang="en-US" b="0" dirty="0" smtClean="0">
                <a:latin typeface="Noto Sans CJK JP Medium" charset="-128"/>
                <a:ea typeface="Noto Sans CJK JP Medium" charset="-128"/>
                <a:cs typeface="Noto Sans CJK JP Medium" charset="-128"/>
              </a:rPr>
              <a:t>のマッチング度の計算</a:t>
            </a:r>
            <a:endParaRPr lang="en-US" altLang="ja-JP" b="0" dirty="0" smtClean="0">
              <a:latin typeface="Noto Sans CJK JP Medium" charset="-128"/>
              <a:ea typeface="Noto Sans CJK JP Medium" charset="-128"/>
              <a:cs typeface="Noto Sans CJK JP Medium" charset="-128"/>
            </a:endParaRPr>
          </a:p>
          <a:p>
            <a:r>
              <a:rPr lang="ja-JP" altLang="en-US" b="0" dirty="0" smtClean="0">
                <a:latin typeface="Noto Sans CJK JP Medium" charset="-128"/>
                <a:ea typeface="Noto Sans CJK JP Medium" charset="-128"/>
                <a:cs typeface="Noto Sans CJK JP Medium" charset="-128"/>
              </a:rPr>
              <a:t>オンプレミス環境での課題</a:t>
            </a:r>
            <a:endParaRPr lang="en-US" altLang="ja-JP" b="0" dirty="0" smtClean="0">
              <a:latin typeface="Noto Sans CJK JP Medium" charset="-128"/>
              <a:ea typeface="Noto Sans CJK JP Medium" charset="-128"/>
              <a:cs typeface="Noto Sans CJK JP Medium" charset="-128"/>
            </a:endParaRPr>
          </a:p>
          <a:p>
            <a:pPr lvl="1"/>
            <a:r>
              <a:rPr lang="ja-JP" altLang="en-US" b="0" dirty="0" smtClean="0">
                <a:latin typeface="Noto Sans CJK JP Medium" charset="-128"/>
                <a:ea typeface="Noto Sans CJK JP Medium" charset="-128"/>
                <a:cs typeface="Noto Sans CJK JP Medium" charset="-128"/>
              </a:rPr>
              <a:t>施策の領域によって、対象のカスタマの量が変わるので、</a:t>
            </a:r>
            <a:r>
              <a:rPr lang="ja-JP" altLang="en-US" b="0" dirty="0" smtClean="0">
                <a:solidFill>
                  <a:schemeClr val="accent6"/>
                </a:solidFill>
                <a:latin typeface="Noto Sans CJK JP Medium" charset="-128"/>
                <a:ea typeface="Noto Sans CJK JP Medium" charset="-128"/>
                <a:cs typeface="Noto Sans CJK JP Medium" charset="-128"/>
              </a:rPr>
              <a:t>キャパシティのプランニングが困難</a:t>
            </a:r>
            <a:endParaRPr lang="en-US" altLang="ja-JP" b="0" dirty="0" smtClean="0">
              <a:solidFill>
                <a:schemeClr val="accent6"/>
              </a:solidFill>
              <a:latin typeface="Noto Sans CJK JP Medium" charset="-128"/>
              <a:ea typeface="Noto Sans CJK JP Medium" charset="-128"/>
              <a:cs typeface="Noto Sans CJK JP Medium" charset="-128"/>
            </a:endParaRPr>
          </a:p>
          <a:p>
            <a:pPr lvl="1"/>
            <a:r>
              <a:rPr lang="ja-JP" altLang="en-US" b="0" dirty="0" smtClean="0">
                <a:solidFill>
                  <a:schemeClr val="tx1"/>
                </a:solidFill>
                <a:latin typeface="Noto Sans CJK JP Medium" charset="-128"/>
                <a:ea typeface="Noto Sans CJK JP Medium" charset="-128"/>
                <a:cs typeface="Noto Sans CJK JP Medium" charset="-128"/>
              </a:rPr>
              <a:t>クラウド移行を検討するも、既存の</a:t>
            </a:r>
            <a:r>
              <a:rPr lang="en-US" altLang="ja-JP" b="0" dirty="0" smtClean="0">
                <a:solidFill>
                  <a:schemeClr val="accent6"/>
                </a:solidFill>
                <a:latin typeface="Noto Sans CJK JP Medium" charset="-128"/>
                <a:ea typeface="Noto Sans CJK JP Medium" charset="-128"/>
                <a:cs typeface="Noto Sans CJK JP Medium" charset="-128"/>
              </a:rPr>
              <a:t>SQL</a:t>
            </a:r>
            <a:r>
              <a:rPr lang="ja-JP" altLang="en-US" b="0" dirty="0" smtClean="0">
                <a:solidFill>
                  <a:schemeClr val="accent6"/>
                </a:solidFill>
                <a:latin typeface="Noto Sans CJK JP Medium" charset="-128"/>
                <a:ea typeface="Noto Sans CJK JP Medium" charset="-128"/>
                <a:cs typeface="Noto Sans CJK JP Medium" charset="-128"/>
              </a:rPr>
              <a:t>ベースの分析では実現できないソリューション</a:t>
            </a:r>
            <a:endParaRPr lang="en-US" altLang="ja-JP" b="0" dirty="0" smtClean="0">
              <a:solidFill>
                <a:schemeClr val="accent6"/>
              </a:solidFill>
              <a:latin typeface="Noto Sans CJK JP Medium" charset="-128"/>
              <a:ea typeface="Noto Sans CJK JP Medium" charset="-128"/>
              <a:cs typeface="Noto Sans CJK JP Medium" charset="-128"/>
            </a:endParaRPr>
          </a:p>
          <a:p>
            <a:r>
              <a:rPr lang="en-US" altLang="ja-JP" b="0" dirty="0" smtClean="0">
                <a:solidFill>
                  <a:schemeClr val="tx1"/>
                </a:solidFill>
                <a:latin typeface="Noto Sans CJK JP Medium" charset="-128"/>
                <a:ea typeface="Noto Sans CJK JP Medium" charset="-128"/>
                <a:cs typeface="Noto Sans CJK JP Medium" charset="-128"/>
              </a:rPr>
              <a:t>EMR</a:t>
            </a:r>
            <a:r>
              <a:rPr lang="ja-JP" altLang="en-US" b="0" dirty="0" smtClean="0">
                <a:solidFill>
                  <a:schemeClr val="tx1"/>
                </a:solidFill>
                <a:latin typeface="Noto Sans CJK JP Medium" charset="-128"/>
                <a:ea typeface="Noto Sans CJK JP Medium" charset="-128"/>
                <a:cs typeface="Noto Sans CJK JP Medium" charset="-128"/>
              </a:rPr>
              <a:t>の選択</a:t>
            </a:r>
            <a:endParaRPr lang="en-US" altLang="ja-JP" b="0" dirty="0" smtClean="0">
              <a:solidFill>
                <a:schemeClr val="tx1"/>
              </a:solidFill>
              <a:latin typeface="Noto Sans CJK JP Medium" charset="-128"/>
              <a:ea typeface="Noto Sans CJK JP Medium" charset="-128"/>
              <a:cs typeface="Noto Sans CJK JP Medium" charset="-128"/>
            </a:endParaRPr>
          </a:p>
          <a:p>
            <a:pPr lvl="1"/>
            <a:r>
              <a:rPr lang="ja-JP" altLang="en-US" b="0" dirty="0" smtClean="0">
                <a:solidFill>
                  <a:schemeClr val="tx1"/>
                </a:solidFill>
                <a:latin typeface="Noto Sans CJK JP Medium" charset="-128"/>
                <a:ea typeface="Noto Sans CJK JP Medium" charset="-128"/>
                <a:cs typeface="Noto Sans CJK JP Medium" charset="-128"/>
              </a:rPr>
              <a:t>上記の課題の解決できる</a:t>
            </a:r>
            <a:endParaRPr lang="en-US" altLang="ja-JP" b="0" dirty="0" smtClean="0">
              <a:solidFill>
                <a:schemeClr val="tx1"/>
              </a:solidFill>
              <a:latin typeface="Noto Sans CJK JP Medium" charset="-128"/>
              <a:ea typeface="Noto Sans CJK JP Medium" charset="-128"/>
              <a:cs typeface="Noto Sans CJK JP Medium" charset="-128"/>
            </a:endParaRPr>
          </a:p>
          <a:p>
            <a:pPr lvl="1"/>
            <a:r>
              <a:rPr lang="ja-JP" altLang="en-US" b="0" dirty="0" smtClean="0">
                <a:solidFill>
                  <a:schemeClr val="tx1"/>
                </a:solidFill>
                <a:latin typeface="Noto Sans CJK JP Medium" charset="-128"/>
                <a:ea typeface="Noto Sans CJK JP Medium" charset="-128"/>
                <a:cs typeface="Noto Sans CJK JP Medium" charset="-128"/>
              </a:rPr>
              <a:t>オンプレ</a:t>
            </a:r>
            <a:r>
              <a:rPr lang="en-US" altLang="ja-JP" b="0" dirty="0" smtClean="0">
                <a:solidFill>
                  <a:schemeClr val="tx1"/>
                </a:solidFill>
                <a:latin typeface="Noto Sans CJK JP Medium" charset="-128"/>
                <a:ea typeface="Noto Sans CJK JP Medium" charset="-128"/>
                <a:cs typeface="Noto Sans CJK JP Medium" charset="-128"/>
              </a:rPr>
              <a:t>Hadoop</a:t>
            </a:r>
            <a:r>
              <a:rPr lang="ja-JP" altLang="en-US" b="0" dirty="0" smtClean="0">
                <a:solidFill>
                  <a:schemeClr val="tx1"/>
                </a:solidFill>
                <a:latin typeface="Noto Sans CJK JP Medium" charset="-128"/>
                <a:ea typeface="Noto Sans CJK JP Medium" charset="-128"/>
                <a:cs typeface="Noto Sans CJK JP Medium" charset="-128"/>
              </a:rPr>
              <a:t>の資材がほぼそのまま動くため、移行工数が低い</a:t>
            </a:r>
            <a:endParaRPr lang="en-US" altLang="ja-JP" b="0" dirty="0" smtClean="0">
              <a:solidFill>
                <a:schemeClr val="tx1"/>
              </a:solidFill>
              <a:latin typeface="Noto Sans CJK JP Medium" charset="-128"/>
              <a:ea typeface="Noto Sans CJK JP Medium" charset="-128"/>
              <a:cs typeface="Noto Sans CJK JP Medium" charset="-128"/>
            </a:endParaRPr>
          </a:p>
          <a:p>
            <a:r>
              <a:rPr lang="ja-JP" altLang="en-US" b="0" dirty="0" smtClean="0">
                <a:solidFill>
                  <a:schemeClr val="tx1"/>
                </a:solidFill>
                <a:latin typeface="Noto Sans CJK JP Medium" charset="-128"/>
                <a:ea typeface="Noto Sans CJK JP Medium" charset="-128"/>
                <a:cs typeface="Noto Sans CJK JP Medium" charset="-128"/>
              </a:rPr>
              <a:t>導入結果・見えてきた課題</a:t>
            </a:r>
            <a:endParaRPr lang="en-US" altLang="ja-JP" b="0" dirty="0" smtClean="0">
              <a:solidFill>
                <a:schemeClr val="tx1"/>
              </a:solidFill>
              <a:latin typeface="Noto Sans CJK JP Medium" charset="-128"/>
              <a:ea typeface="Noto Sans CJK JP Medium" charset="-128"/>
              <a:cs typeface="Noto Sans CJK JP Medium" charset="-128"/>
            </a:endParaRPr>
          </a:p>
          <a:p>
            <a:pPr lvl="1"/>
            <a:r>
              <a:rPr lang="en-US" altLang="ja-JP" b="0" dirty="0" smtClean="0">
                <a:solidFill>
                  <a:schemeClr val="tx1"/>
                </a:solidFill>
                <a:latin typeface="Noto Sans CJK JP Medium" charset="-128"/>
                <a:ea typeface="Noto Sans CJK JP Medium" charset="-128"/>
                <a:cs typeface="Noto Sans CJK JP Medium" charset="-128"/>
              </a:rPr>
              <a:t>11</a:t>
            </a:r>
            <a:r>
              <a:rPr lang="ja-JP" altLang="en-US" b="0" dirty="0" smtClean="0">
                <a:solidFill>
                  <a:schemeClr val="tx1"/>
                </a:solidFill>
                <a:latin typeface="Noto Sans CJK JP Medium" charset="-128"/>
                <a:ea typeface="Noto Sans CJK JP Medium" charset="-128"/>
                <a:cs typeface="Noto Sans CJK JP Medium" charset="-128"/>
              </a:rPr>
              <a:t>月から運用開始、日々</a:t>
            </a:r>
            <a:r>
              <a:rPr lang="en-US" altLang="ja-JP" b="0" dirty="0" smtClean="0">
                <a:solidFill>
                  <a:schemeClr val="tx1"/>
                </a:solidFill>
                <a:latin typeface="Noto Sans CJK JP Medium" charset="-128"/>
                <a:ea typeface="Noto Sans CJK JP Medium" charset="-128"/>
                <a:cs typeface="Noto Sans CJK JP Medium" charset="-128"/>
              </a:rPr>
              <a:t>100</a:t>
            </a:r>
            <a:r>
              <a:rPr lang="ja-JP" altLang="en-US" b="0" dirty="0" smtClean="0">
                <a:solidFill>
                  <a:schemeClr val="tx1"/>
                </a:solidFill>
                <a:latin typeface="Noto Sans CJK JP Medium" charset="-128"/>
                <a:ea typeface="Noto Sans CJK JP Medium" charset="-128"/>
                <a:cs typeface="Noto Sans CJK JP Medium" charset="-128"/>
              </a:rPr>
              <a:t>本以上のジョブを動作させている</a:t>
            </a:r>
            <a:endParaRPr lang="en-US" altLang="ja-JP" b="0" dirty="0" smtClean="0">
              <a:solidFill>
                <a:schemeClr val="tx1"/>
              </a:solidFill>
              <a:latin typeface="Noto Sans CJK JP Medium" charset="-128"/>
              <a:ea typeface="Noto Sans CJK JP Medium" charset="-128"/>
              <a:cs typeface="Noto Sans CJK JP Medium" charset="-128"/>
            </a:endParaRPr>
          </a:p>
          <a:p>
            <a:pPr lvl="1"/>
            <a:r>
              <a:rPr lang="ja-JP" altLang="en-US" b="0" dirty="0" smtClean="0">
                <a:solidFill>
                  <a:schemeClr val="tx1"/>
                </a:solidFill>
                <a:latin typeface="Noto Sans CJK JP Medium" charset="-128"/>
                <a:ea typeface="Noto Sans CJK JP Medium" charset="-128"/>
                <a:cs typeface="Noto Sans CJK JP Medium" charset="-128"/>
              </a:rPr>
              <a:t>夜間バッチのときに</a:t>
            </a:r>
            <a:r>
              <a:rPr lang="en-US" altLang="ja-JP" b="0" dirty="0" smtClean="0">
                <a:solidFill>
                  <a:schemeClr val="tx1"/>
                </a:solidFill>
                <a:latin typeface="Noto Sans CJK JP Medium" charset="-128"/>
                <a:ea typeface="Noto Sans CJK JP Medium" charset="-128"/>
                <a:cs typeface="Noto Sans CJK JP Medium" charset="-128"/>
              </a:rPr>
              <a:t>EMR</a:t>
            </a:r>
            <a:r>
              <a:rPr lang="ja-JP" altLang="en-US" b="0" dirty="0" smtClean="0">
                <a:solidFill>
                  <a:schemeClr val="tx1"/>
                </a:solidFill>
                <a:latin typeface="Noto Sans CJK JP Medium" charset="-128"/>
                <a:ea typeface="Noto Sans CJK JP Medium" charset="-128"/>
                <a:cs typeface="Noto Sans CJK JP Medium" charset="-128"/>
              </a:rPr>
              <a:t>の台数が多くなってしまい、コストが高くなってしまっているという課題がある</a:t>
            </a:r>
            <a:endParaRPr lang="en-US" altLang="ja-JP" b="0" dirty="0" smtClean="0">
              <a:solidFill>
                <a:schemeClr val="tx1"/>
              </a:solidFill>
              <a:latin typeface="Noto Sans CJK JP Medium" charset="-128"/>
              <a:ea typeface="Noto Sans CJK JP Medium" charset="-128"/>
              <a:cs typeface="Noto Sans CJK JP Medium" charset="-128"/>
            </a:endParaRPr>
          </a:p>
          <a:p>
            <a:endParaRPr lang="en-US" altLang="ja-JP" sz="1800" b="0" dirty="0" smtClean="0">
              <a:solidFill>
                <a:schemeClr val="tx1"/>
              </a:solidFill>
              <a:latin typeface="Noto Sans CJK JP Medium" charset="-128"/>
              <a:ea typeface="Noto Sans CJK JP Medium" charset="-128"/>
              <a:cs typeface="Noto Sans CJK JP Medium" charset="-128"/>
            </a:endParaRPr>
          </a:p>
          <a:p>
            <a:pPr lvl="1"/>
            <a:endParaRPr lang="en-US" altLang="ja-JP" b="0" dirty="0" smtClean="0">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2758451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44979" y="2802299"/>
            <a:ext cx="7021688" cy="626701"/>
          </a:xfrm>
        </p:spPr>
        <p:txBody>
          <a:bodyPr/>
          <a:lstStyle/>
          <a:p>
            <a:r>
              <a:rPr lang="ja-JP" altLang="en-US" b="0" dirty="0" smtClean="0">
                <a:latin typeface="Noto Sans CJK JP Medium" charset="-128"/>
                <a:ea typeface="Noto Sans CJK JP Medium" charset="-128"/>
                <a:cs typeface="Noto Sans CJK JP Medium" charset="-128"/>
              </a:rPr>
              <a:t>スポットインスタンスの導入</a:t>
            </a:r>
            <a:endParaRPr lang="en-US" b="0" dirty="0">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2861979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スポットインスタンスとは</a:t>
            </a:r>
            <a:endParaRPr lang="en-US" b="0" dirty="0">
              <a:latin typeface="Noto Sans CJK JP Medium" charset="-128"/>
              <a:ea typeface="Noto Sans CJK JP Medium" charset="-128"/>
              <a:cs typeface="Noto Sans CJK JP Medium" charset="-128"/>
            </a:endParaRPr>
          </a:p>
        </p:txBody>
      </p:sp>
      <p:sp>
        <p:nvSpPr>
          <p:cNvPr id="3" name="Content Placeholder 2"/>
          <p:cNvSpPr>
            <a:spLocks noGrp="1"/>
          </p:cNvSpPr>
          <p:nvPr>
            <p:ph idx="1"/>
          </p:nvPr>
        </p:nvSpPr>
        <p:spPr/>
        <p:txBody>
          <a:bodyPr/>
          <a:lstStyle/>
          <a:p>
            <a:r>
              <a:rPr lang="en-US" sz="2400" b="0" dirty="0" smtClean="0">
                <a:latin typeface="Noto Sans CJK JP Medium" charset="-128"/>
                <a:ea typeface="Noto Sans CJK JP Medium" charset="-128"/>
                <a:cs typeface="Noto Sans CJK JP Medium" charset="-128"/>
              </a:rPr>
              <a:t>EC2</a:t>
            </a:r>
            <a:r>
              <a:rPr lang="ja-JP" altLang="en-US" sz="2400" b="0" dirty="0" smtClean="0">
                <a:latin typeface="Noto Sans CJK JP Medium" charset="-128"/>
                <a:ea typeface="Noto Sans CJK JP Medium" charset="-128"/>
                <a:cs typeface="Noto Sans CJK JP Medium" charset="-128"/>
              </a:rPr>
              <a:t>のインスタンスを安く利用できる仕組み。</a:t>
            </a:r>
            <a:endParaRPr lang="en-US" altLang="ja-JP" sz="2400" b="0" dirty="0" smtClean="0">
              <a:latin typeface="Noto Sans CJK JP Medium" charset="-128"/>
              <a:ea typeface="Noto Sans CJK JP Medium" charset="-128"/>
              <a:cs typeface="Noto Sans CJK JP Medium" charset="-128"/>
            </a:endParaRPr>
          </a:p>
          <a:p>
            <a:endParaRPr lang="en-US" altLang="ja-JP" sz="2400" b="0" dirty="0" smtClean="0">
              <a:latin typeface="Noto Sans CJK JP Medium" charset="-128"/>
              <a:ea typeface="Noto Sans CJK JP Medium" charset="-128"/>
              <a:cs typeface="Noto Sans CJK JP Medium" charset="-128"/>
            </a:endParaRPr>
          </a:p>
          <a:p>
            <a:r>
              <a:rPr lang="ja-JP" altLang="en-US" sz="2400" b="0" dirty="0" smtClean="0">
                <a:latin typeface="Noto Sans CJK JP Medium" charset="-128"/>
                <a:ea typeface="Noto Sans CJK JP Medium" charset="-128"/>
                <a:cs typeface="Noto Sans CJK JP Medium" charset="-128"/>
              </a:rPr>
              <a:t>使う場合は金額を入札する。</a:t>
            </a:r>
            <a:endParaRPr lang="en-US" altLang="ja-JP" sz="2400" b="0" dirty="0" smtClean="0">
              <a:latin typeface="Noto Sans CJK JP Medium" charset="-128"/>
              <a:ea typeface="Noto Sans CJK JP Medium" charset="-128"/>
              <a:cs typeface="Noto Sans CJK JP Medium" charset="-128"/>
            </a:endParaRPr>
          </a:p>
          <a:p>
            <a:endParaRPr lang="en-US" altLang="ja-JP" sz="2400" b="0" dirty="0" smtClean="0">
              <a:latin typeface="Noto Sans CJK JP Medium" charset="-128"/>
              <a:ea typeface="Noto Sans CJK JP Medium" charset="-128"/>
              <a:cs typeface="Noto Sans CJK JP Medium" charset="-128"/>
            </a:endParaRPr>
          </a:p>
          <a:p>
            <a:r>
              <a:rPr lang="ja-JP" altLang="en-US" sz="2400" b="0" dirty="0" smtClean="0">
                <a:latin typeface="Noto Sans CJK JP Medium" charset="-128"/>
                <a:ea typeface="Noto Sans CJK JP Medium" charset="-128"/>
                <a:cs typeface="Noto Sans CJK JP Medium" charset="-128"/>
              </a:rPr>
              <a:t>入札が通ればその金額で</a:t>
            </a:r>
            <a:r>
              <a:rPr lang="en-US" altLang="ja-JP" sz="2400" b="0" dirty="0" smtClean="0">
                <a:latin typeface="Noto Sans CJK JP Medium" charset="-128"/>
                <a:ea typeface="Noto Sans CJK JP Medium" charset="-128"/>
                <a:cs typeface="Noto Sans CJK JP Medium" charset="-128"/>
              </a:rPr>
              <a:t>EC2</a:t>
            </a:r>
            <a:r>
              <a:rPr lang="ja-JP" altLang="en-US" sz="2400" b="0" dirty="0" smtClean="0">
                <a:latin typeface="Noto Sans CJK JP Medium" charset="-128"/>
                <a:ea typeface="Noto Sans CJK JP Medium" charset="-128"/>
                <a:cs typeface="Noto Sans CJK JP Medium" charset="-128"/>
              </a:rPr>
              <a:t>インスタンス</a:t>
            </a:r>
            <a:r>
              <a:rPr lang="ja-JP" altLang="en-US" sz="2400" b="0" dirty="0" smtClean="0">
                <a:latin typeface="Noto Sans CJK JP Medium" charset="-128"/>
                <a:ea typeface="Noto Sans CJK JP Medium" charset="-128"/>
                <a:cs typeface="Noto Sans CJK JP Medium" charset="-128"/>
              </a:rPr>
              <a:t>を</a:t>
            </a:r>
            <a:r>
              <a:rPr lang="ja-JP" altLang="en-US" sz="2400" b="0" dirty="0" smtClean="0">
                <a:latin typeface="Noto Sans CJK JP Medium" charset="-128"/>
                <a:ea typeface="Noto Sans CJK JP Medium" charset="-128"/>
                <a:cs typeface="Noto Sans CJK JP Medium" charset="-128"/>
              </a:rPr>
              <a:t>利用できる</a:t>
            </a:r>
            <a:r>
              <a:rPr lang="en-US" altLang="ja-JP" sz="2400" b="0" dirty="0" smtClean="0">
                <a:latin typeface="Noto Sans CJK JP Medium" charset="-128"/>
                <a:ea typeface="Noto Sans CJK JP Medium" charset="-128"/>
                <a:cs typeface="Noto Sans CJK JP Medium" charset="-128"/>
              </a:rPr>
              <a:t/>
            </a:r>
            <a:br>
              <a:rPr lang="en-US" altLang="ja-JP" sz="2400" b="0" dirty="0" smtClean="0">
                <a:latin typeface="Noto Sans CJK JP Medium" charset="-128"/>
                <a:ea typeface="Noto Sans CJK JP Medium" charset="-128"/>
                <a:cs typeface="Noto Sans CJK JP Medium" charset="-128"/>
              </a:rPr>
            </a:br>
            <a:r>
              <a:rPr lang="ja-JP" altLang="en-US" sz="2400" b="0" dirty="0" smtClean="0">
                <a:latin typeface="Noto Sans CJK JP Medium" charset="-128"/>
                <a:ea typeface="Noto Sans CJK JP Medium" charset="-128"/>
                <a:cs typeface="Noto Sans CJK JP Medium" charset="-128"/>
              </a:rPr>
              <a:t>（オンデマンドの</a:t>
            </a:r>
            <a:r>
              <a:rPr lang="en-US" altLang="ja-JP" sz="2400" b="0" dirty="0" smtClean="0">
                <a:latin typeface="Noto Sans CJK JP Medium" charset="-128"/>
                <a:ea typeface="Noto Sans CJK JP Medium" charset="-128"/>
                <a:cs typeface="Noto Sans CJK JP Medium" charset="-128"/>
              </a:rPr>
              <a:t>30</a:t>
            </a:r>
            <a:r>
              <a:rPr lang="ja-JP" altLang="en-US" sz="2400" b="0" dirty="0" smtClean="0">
                <a:latin typeface="Noto Sans CJK JP Medium" charset="-128"/>
                <a:ea typeface="Noto Sans CJK JP Medium" charset="-128"/>
                <a:cs typeface="Noto Sans CJK JP Medium" charset="-128"/>
              </a:rPr>
              <a:t>％</a:t>
            </a:r>
            <a:r>
              <a:rPr lang="en-US" altLang="ja-JP" sz="2400" b="0" dirty="0" smtClean="0">
                <a:latin typeface="Noto Sans CJK JP Medium" charset="-128"/>
                <a:ea typeface="Noto Sans CJK JP Medium" charset="-128"/>
                <a:cs typeface="Noto Sans CJK JP Medium" charset="-128"/>
              </a:rPr>
              <a:t>〜50%</a:t>
            </a:r>
            <a:r>
              <a:rPr lang="ja-JP" altLang="en-US" sz="2400" b="0" dirty="0" smtClean="0">
                <a:latin typeface="Noto Sans CJK JP Medium" charset="-128"/>
                <a:ea typeface="Noto Sans CJK JP Medium" charset="-128"/>
                <a:cs typeface="Noto Sans CJK JP Medium" charset="-128"/>
              </a:rPr>
              <a:t>程度で利用できる</a:t>
            </a:r>
            <a:r>
              <a:rPr lang="en-US" altLang="ja-JP" sz="2400" b="0" dirty="0" smtClean="0">
                <a:latin typeface="Noto Sans CJK JP Medium" charset="-128"/>
                <a:ea typeface="Noto Sans CJK JP Medium" charset="-128"/>
                <a:cs typeface="Noto Sans CJK JP Medium" charset="-128"/>
              </a:rPr>
              <a:t>)</a:t>
            </a:r>
            <a:r>
              <a:rPr lang="ja-JP" altLang="en-US" sz="2400" b="0" dirty="0" smtClean="0">
                <a:latin typeface="Noto Sans CJK JP Medium" charset="-128"/>
                <a:ea typeface="Noto Sans CJK JP Medium" charset="-128"/>
                <a:cs typeface="Noto Sans CJK JP Medium" charset="-128"/>
              </a:rPr>
              <a:t>。</a:t>
            </a:r>
            <a:r>
              <a:rPr lang="en-US" altLang="ja-JP" sz="2400" b="0" dirty="0" smtClean="0">
                <a:latin typeface="Noto Sans CJK JP Medium" charset="-128"/>
                <a:ea typeface="Noto Sans CJK JP Medium" charset="-128"/>
                <a:cs typeface="Noto Sans CJK JP Medium" charset="-128"/>
              </a:rPr>
              <a:t/>
            </a:r>
            <a:br>
              <a:rPr lang="en-US" altLang="ja-JP" sz="2400" b="0" dirty="0" smtClean="0">
                <a:latin typeface="Noto Sans CJK JP Medium" charset="-128"/>
                <a:ea typeface="Noto Sans CJK JP Medium" charset="-128"/>
                <a:cs typeface="Noto Sans CJK JP Medium" charset="-128"/>
              </a:rPr>
            </a:br>
            <a:endParaRPr lang="en-US" altLang="ja-JP" sz="2400" b="0" dirty="0" smtClean="0">
              <a:latin typeface="Noto Sans CJK JP Medium" charset="-128"/>
              <a:ea typeface="Noto Sans CJK JP Medium" charset="-128"/>
              <a:cs typeface="Noto Sans CJK JP Medium" charset="-128"/>
            </a:endParaRPr>
          </a:p>
          <a:p>
            <a:r>
              <a:rPr lang="ja-JP" altLang="en-US" sz="2400" b="0" dirty="0" smtClean="0">
                <a:latin typeface="Noto Sans CJK JP Medium" charset="-128"/>
                <a:ea typeface="Noto Sans CJK JP Medium" charset="-128"/>
                <a:cs typeface="Noto Sans CJK JP Medium" charset="-128"/>
              </a:rPr>
              <a:t>インスタンス利用中に相場あがり、入札金額で不十分になった場合は、インスタンスが落とされる可能性がある。</a:t>
            </a:r>
            <a:endParaRPr lang="en-US" altLang="ja-JP" sz="2400" b="0" dirty="0" smtClean="0">
              <a:latin typeface="Noto Sans CJK JP Medium" charset="-128"/>
              <a:ea typeface="Noto Sans CJK JP Medium" charset="-128"/>
              <a:cs typeface="Noto Sans CJK JP Medium" charset="-128"/>
            </a:endParaRPr>
          </a:p>
          <a:p>
            <a:endParaRPr lang="en-US" sz="2400" b="0" dirty="0" smtClean="0">
              <a:latin typeface="Noto Sans CJK JP Medium" charset="-128"/>
              <a:ea typeface="Noto Sans CJK JP Medium" charset="-128"/>
              <a:cs typeface="Noto Sans CJK JP Medium" charset="-128"/>
            </a:endParaRPr>
          </a:p>
          <a:p>
            <a:r>
              <a:rPr lang="en-US" sz="2400" b="0" dirty="0" smtClean="0">
                <a:latin typeface="Noto Sans CJK JP Medium" charset="-128"/>
                <a:ea typeface="Noto Sans CJK JP Medium" charset="-128"/>
                <a:cs typeface="Noto Sans CJK JP Medium" charset="-128"/>
              </a:rPr>
              <a:t>Hadoop</a:t>
            </a:r>
            <a:r>
              <a:rPr lang="ja-JP" altLang="en-US" sz="2400" b="0" dirty="0" smtClean="0">
                <a:latin typeface="Noto Sans CJK JP Medium" charset="-128"/>
                <a:ea typeface="Noto Sans CJK JP Medium" charset="-128"/>
                <a:cs typeface="Noto Sans CJK JP Medium" charset="-128"/>
              </a:rPr>
              <a:t>のコアノードは途中でインスタンスが停止してもジョブを実行し続けられる作りであるため、相性が抜群。</a:t>
            </a:r>
            <a:endParaRPr lang="en-US" sz="2400" b="0" dirty="0">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1136304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b="0" dirty="0" smtClean="0">
                <a:latin typeface="Noto Sans CJK JP Medium" charset="-128"/>
                <a:ea typeface="Noto Sans CJK JP Medium" charset="-128"/>
                <a:cs typeface="Noto Sans CJK JP Medium" charset="-128"/>
              </a:rPr>
              <a:t>スポットインスタンス自動入札の要件</a:t>
            </a:r>
            <a:endParaRPr lang="en-US" b="0" dirty="0">
              <a:latin typeface="Noto Sans CJK JP Medium" charset="-128"/>
              <a:ea typeface="Noto Sans CJK JP Medium" charset="-128"/>
              <a:cs typeface="Noto Sans CJK JP Medium" charset="-128"/>
            </a:endParaRPr>
          </a:p>
        </p:txBody>
      </p:sp>
      <p:sp>
        <p:nvSpPr>
          <p:cNvPr id="3" name="Content Placeholder 2"/>
          <p:cNvSpPr>
            <a:spLocks noGrp="1"/>
          </p:cNvSpPr>
          <p:nvPr>
            <p:ph idx="1"/>
          </p:nvPr>
        </p:nvSpPr>
        <p:spPr/>
        <p:txBody>
          <a:bodyPr/>
          <a:lstStyle/>
          <a:p>
            <a:r>
              <a:rPr lang="ja-JP" altLang="en-US" sz="2400" b="0" dirty="0" smtClean="0">
                <a:latin typeface="Noto Sans CJK JP Medium" charset="-128"/>
                <a:ea typeface="Noto Sans CJK JP Medium" charset="-128"/>
                <a:cs typeface="Noto Sans CJK JP Medium" charset="-128"/>
              </a:rPr>
              <a:t>クラスタ全体のリソースは変えずにコストを下げたい。</a:t>
            </a:r>
            <a:endParaRPr lang="en-US" altLang="ja-JP" sz="2400" b="0" dirty="0" smtClean="0">
              <a:latin typeface="Noto Sans CJK JP Medium" charset="-128"/>
              <a:ea typeface="Noto Sans CJK JP Medium" charset="-128"/>
              <a:cs typeface="Noto Sans CJK JP Medium" charset="-128"/>
            </a:endParaRPr>
          </a:p>
          <a:p>
            <a:endParaRPr lang="en-US" sz="2400" b="0" dirty="0">
              <a:latin typeface="Noto Sans CJK JP Medium" charset="-128"/>
              <a:ea typeface="Noto Sans CJK JP Medium" charset="-128"/>
              <a:cs typeface="Noto Sans CJK JP Medium" charset="-128"/>
            </a:endParaRPr>
          </a:p>
          <a:p>
            <a:r>
              <a:rPr lang="ja-JP" altLang="en-US" sz="2400" b="0" dirty="0" smtClean="0">
                <a:latin typeface="Noto Sans CJK JP Medium" charset="-128"/>
                <a:ea typeface="Noto Sans CJK JP Medium" charset="-128"/>
                <a:cs typeface="Noto Sans CJK JP Medium" charset="-128"/>
              </a:rPr>
              <a:t>スポットインスタンスが落とされるリスクを利用者が設定したい。</a:t>
            </a:r>
            <a:endParaRPr lang="en-US" altLang="ja-JP" sz="2400" b="0" dirty="0" smtClean="0">
              <a:latin typeface="Noto Sans CJK JP Medium" charset="-128"/>
              <a:ea typeface="Noto Sans CJK JP Medium" charset="-128"/>
              <a:cs typeface="Noto Sans CJK JP Medium" charset="-128"/>
            </a:endParaRPr>
          </a:p>
          <a:p>
            <a:pPr lvl="1"/>
            <a:r>
              <a:rPr lang="ja-JP" altLang="en-US" sz="2200" b="0" dirty="0" smtClean="0">
                <a:latin typeface="Noto Sans CJK JP Medium" charset="-128"/>
                <a:ea typeface="Noto Sans CJK JP Medium" charset="-128"/>
                <a:cs typeface="Noto Sans CJK JP Medium" charset="-128"/>
              </a:rPr>
              <a:t>リスクを</a:t>
            </a:r>
            <a:r>
              <a:rPr lang="en-US" altLang="ja-JP" sz="2200" b="0" dirty="0" smtClean="0">
                <a:latin typeface="Noto Sans CJK JP Medium" charset="-128"/>
                <a:ea typeface="Noto Sans CJK JP Medium" charset="-128"/>
                <a:cs typeface="Noto Sans CJK JP Medium" charset="-128"/>
              </a:rPr>
              <a:t>HIGH</a:t>
            </a:r>
            <a:r>
              <a:rPr lang="ja-JP" altLang="en-US" sz="2200" b="0" dirty="0" smtClean="0">
                <a:latin typeface="Noto Sans CJK JP Medium" charset="-128"/>
                <a:ea typeface="Noto Sans CJK JP Medium" charset="-128"/>
                <a:cs typeface="Noto Sans CJK JP Medium" charset="-128"/>
              </a:rPr>
              <a:t>に設定すると、安い金額で利用できる。</a:t>
            </a:r>
            <a:endParaRPr lang="en-US" altLang="ja-JP" sz="2200" b="0" dirty="0" smtClean="0">
              <a:latin typeface="Noto Sans CJK JP Medium" charset="-128"/>
              <a:ea typeface="Noto Sans CJK JP Medium" charset="-128"/>
              <a:cs typeface="Noto Sans CJK JP Medium" charset="-128"/>
            </a:endParaRPr>
          </a:p>
          <a:p>
            <a:pPr lvl="1"/>
            <a:r>
              <a:rPr lang="ja-JP" altLang="en-US" sz="2200" b="0" dirty="0" smtClean="0">
                <a:latin typeface="Noto Sans CJK JP Medium" charset="-128"/>
                <a:ea typeface="Noto Sans CJK JP Medium" charset="-128"/>
                <a:cs typeface="Noto Sans CJK JP Medium" charset="-128"/>
              </a:rPr>
              <a:t>リスクを</a:t>
            </a:r>
            <a:r>
              <a:rPr lang="en-US" altLang="ja-JP" sz="2200" b="0" dirty="0" smtClean="0">
                <a:latin typeface="Noto Sans CJK JP Medium" charset="-128"/>
                <a:ea typeface="Noto Sans CJK JP Medium" charset="-128"/>
                <a:cs typeface="Noto Sans CJK JP Medium" charset="-128"/>
              </a:rPr>
              <a:t>LOW</a:t>
            </a:r>
            <a:r>
              <a:rPr lang="ja-JP" altLang="en-US" sz="2200" b="0" dirty="0" smtClean="0">
                <a:latin typeface="Noto Sans CJK JP Medium" charset="-128"/>
                <a:ea typeface="Noto Sans CJK JP Medium" charset="-128"/>
                <a:cs typeface="Noto Sans CJK JP Medium" charset="-128"/>
              </a:rPr>
              <a:t>に設定すると、金額が高くなる。</a:t>
            </a:r>
            <a:endParaRPr lang="en-US" altLang="ja-JP" sz="2200" b="0" dirty="0" smtClean="0">
              <a:latin typeface="Noto Sans CJK JP Medium" charset="-128"/>
              <a:ea typeface="Noto Sans CJK JP Medium" charset="-128"/>
              <a:cs typeface="Noto Sans CJK JP Medium" charset="-128"/>
            </a:endParaRPr>
          </a:p>
        </p:txBody>
      </p:sp>
    </p:spTree>
    <p:extLst>
      <p:ext uri="{BB962C8B-B14F-4D97-AF65-F5344CB8AC3E}">
        <p14:creationId xmlns:p14="http://schemas.microsoft.com/office/powerpoint/2010/main" val="18761202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qscojzXQkWCWv_Refc7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gBKhKUEmU6QKveVVRwk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rmat_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ホワイト">
      <a:majorFont>
        <a:latin typeface="Arial"/>
        <a:ea typeface="Osaka"/>
        <a:cs typeface="Osaka"/>
      </a:majorFont>
      <a:minorFont>
        <a:latin typeface="Arial"/>
        <a:ea typeface="Osaka"/>
        <a:cs typeface="Osak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9525" cmpd="sng">
          <a:solidFill>
            <a:schemeClr val="tx1"/>
          </a:solidFill>
          <a:miter lim="800000"/>
          <a:headEnd/>
          <a:tailEnd/>
        </a:ln>
      </a:spPr>
      <a:bodyPr rtlCol="0" anchor="ctr"/>
      <a:lstStyle>
        <a:defPPr algn="ctr">
          <a:defRPr sz="1050" dirty="0" smtClean="0">
            <a:solidFill>
              <a:srgbClr val="33464D"/>
            </a:solidFill>
            <a:latin typeface="ＭＳ ゴシック"/>
            <a:ea typeface="ＭＳ ゴシック"/>
            <a:cs typeface="ＭＳ ゴシック"/>
          </a:defRPr>
        </a:defPPr>
      </a:lstStyle>
    </a:spDef>
    <a:lnDef>
      <a:spPr bwMode="auto">
        <a:solidFill>
          <a:schemeClr val="accent1"/>
        </a:solidFill>
        <a:ln w="9525" cap="flat" cmpd="sng" algn="ctr">
          <a:solidFill>
            <a:srgbClr val="33464D"/>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a:lstStyle/>
    </a:lnDef>
    <a:txDef>
      <a:spPr>
        <a:noFill/>
      </a:spPr>
      <a:bodyPr wrap="square" lIns="36000" tIns="36000" rIns="36000" bIns="36000" rtlCol="0">
        <a:spAutoFit/>
      </a:bodyPr>
      <a:lstStyle>
        <a:defPPr>
          <a:defRPr kumimoji="1" sz="1400" smtClean="0">
            <a:solidFill>
              <a:srgbClr val="33464D"/>
            </a:solidFill>
            <a:latin typeface="+mn-lt"/>
            <a:ea typeface="ＭＳ Ｐゴシック" pitchFamily="50" charset="-128"/>
          </a:defRPr>
        </a:defPPr>
      </a:lstStyle>
    </a:txDef>
  </a:objectDefaults>
  <a:extraClrSchemeLst>
    <a:extraClrScheme>
      <a:clrScheme name="ホワイ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ホワイ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ホワイ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ホワイ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ホワイ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ホワイ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ホワイト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ホワイ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ホワイ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ホワイ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ホワイ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ホワイ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ホワイ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279c20c3caf3300dae6b438536eb8c56">
  <xsd:schema xmlns:xsd="http://www.w3.org/2001/XMLSchema" xmlns:p="http://schemas.microsoft.com/office/2006/metadata/properties" targetNamespace="http://schemas.microsoft.com/office/2006/metadata/properties" ma:root="true" ma:fieldsID="0d2e1ca116041f9e11471c52c4c9d60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1ECD846-121B-418C-91CB-FA2791B7A4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6BCD0E10-39F2-46A0-B68A-DB0B6F5CBFE5}">
  <ds:schemaRefs>
    <ds:schemaRef ds:uri="http://purl.org/dc/dcmitype/"/>
    <ds:schemaRef ds:uri="http://schemas.microsoft.com/office/2006/metadata/properties"/>
    <ds:schemaRef ds:uri="http://purl.org/dc/elements/1.1/"/>
    <ds:schemaRef ds:uri="http://schemas.openxmlformats.org/package/2006/metadata/core-properties"/>
    <ds:schemaRef ds:uri="http://schemas.microsoft.com/office/2006/documentManagement/types"/>
    <ds:schemaRef ds:uri="http://www.w3.org/XML/1998/namespace"/>
    <ds:schemaRef ds:uri="http://purl.org/dc/terms/"/>
  </ds:schemaRefs>
</ds:datastoreItem>
</file>

<file path=customXml/itemProps3.xml><?xml version="1.0" encoding="utf-8"?>
<ds:datastoreItem xmlns:ds="http://schemas.openxmlformats.org/officeDocument/2006/customXml" ds:itemID="{F2233BD4-E060-4AF2-A24E-6CBD4225DCA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ormat_A</Template>
  <TotalTime>78994</TotalTime>
  <Words>1108</Words>
  <Application>Microsoft Macintosh PowerPoint</Application>
  <PresentationFormat>A4 Paper (210x297 mm)</PresentationFormat>
  <Paragraphs>270</Paragraphs>
  <Slides>31</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0" baseType="lpstr">
      <vt:lpstr>ＭＳ Ｐゴシック</vt:lpstr>
      <vt:lpstr>Noto Sans CJK JP Medium</vt:lpstr>
      <vt:lpstr>Osaka</vt:lpstr>
      <vt:lpstr>Wingdings</vt:lpstr>
      <vt:lpstr>ヒラギノ角ゴ Pro W3</vt:lpstr>
      <vt:lpstr>メイリオ</vt:lpstr>
      <vt:lpstr>Arial</vt:lpstr>
      <vt:lpstr>format_A</vt:lpstr>
      <vt:lpstr>think-cell Slide</vt:lpstr>
      <vt:lpstr>EMRでスポットインスタンスの自動入札ツールを作成する</vt:lpstr>
      <vt:lpstr>自己紹介</vt:lpstr>
      <vt:lpstr>職歴</vt:lpstr>
      <vt:lpstr>職歴</vt:lpstr>
      <vt:lpstr>リクルートテクノロジーズ　ビッグデータ部</vt:lpstr>
      <vt:lpstr>EMR活用事例</vt:lpstr>
      <vt:lpstr>スポットインスタンスの導入</vt:lpstr>
      <vt:lpstr>スポットインスタンスとは</vt:lpstr>
      <vt:lpstr>スポットインスタンス自動入札の要件</vt:lpstr>
      <vt:lpstr>スポットインスタンス入札リクエストの流れ</vt:lpstr>
      <vt:lpstr>スポットインスタンス自動入札の要件</vt:lpstr>
      <vt:lpstr>スポットインスタンス自動入札の要件</vt:lpstr>
      <vt:lpstr>スポットインスタンス自動入札の要件</vt:lpstr>
      <vt:lpstr>スポットインスタンス自動入札の要件</vt:lpstr>
      <vt:lpstr>ユーザが指定する設定</vt:lpstr>
      <vt:lpstr>スケジュールの設定</vt:lpstr>
      <vt:lpstr>マスターインスタンスグループの設定</vt:lpstr>
      <vt:lpstr>コアグループの設定</vt:lpstr>
      <vt:lpstr>タスクインスタンスグループの設定</vt:lpstr>
      <vt:lpstr>タスクインスタンスグループとは</vt:lpstr>
      <vt:lpstr>落とされるリスクの設定</vt:lpstr>
      <vt:lpstr>落とされるリスクの設定</vt:lpstr>
      <vt:lpstr>スポットインスタンスのインスタンス選定</vt:lpstr>
      <vt:lpstr>スポットインスタンス入札の際の値段算出</vt:lpstr>
      <vt:lpstr>問題点</vt:lpstr>
      <vt:lpstr>タスクグループの上限問題</vt:lpstr>
      <vt:lpstr>タスクグループの上限問題</vt:lpstr>
      <vt:lpstr>タスクグループの上限問題解決案</vt:lpstr>
      <vt:lpstr>タスクグループの上限問題解決案</vt:lpstr>
      <vt:lpstr>非同期リクエストの解決案</vt:lpstr>
      <vt:lpstr>今後の課題</vt:lpstr>
    </vt:vector>
  </TitlesOfParts>
  <LinksUpToDate>false</LinksUpToDate>
  <SharedDoc>false</SharedDoc>
  <HyperlinksChanged>false</HyperlinksChanged>
  <AppVersion>15.002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BA</dc:title>
  <dc:creator>山田　邦晴</dc:creator>
  <cp:lastModifiedBy>荻原 啓介</cp:lastModifiedBy>
  <cp:revision>1658</cp:revision>
  <cp:lastPrinted>2009-11-04T10:54:24Z</cp:lastPrinted>
  <dcterms:created xsi:type="dcterms:W3CDTF">2012-08-30T11:30:07Z</dcterms:created>
  <dcterms:modified xsi:type="dcterms:W3CDTF">2016-12-12T06:57:35Z</dcterms:modified>
</cp:coreProperties>
</file>